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Lst>
  <p:notesMasterIdLst>
    <p:notesMasterId r:id="rId23"/>
  </p:notesMasterIdLst>
  <p:handoutMasterIdLst>
    <p:handoutMasterId r:id="rId24"/>
  </p:handoutMasterIdLst>
  <p:sldIdLst>
    <p:sldId id="2061898024" r:id="rId5"/>
    <p:sldId id="2076136210" r:id="rId6"/>
    <p:sldId id="2076136198" r:id="rId7"/>
    <p:sldId id="2076136199" r:id="rId8"/>
    <p:sldId id="2076136200" r:id="rId9"/>
    <p:sldId id="2076136202" r:id="rId10"/>
    <p:sldId id="2076136209" r:id="rId11"/>
    <p:sldId id="2076136211" r:id="rId12"/>
    <p:sldId id="2076136188" r:id="rId13"/>
    <p:sldId id="2076136186" r:id="rId14"/>
    <p:sldId id="2076136192" r:id="rId15"/>
    <p:sldId id="2076136206" r:id="rId16"/>
    <p:sldId id="1713476470" r:id="rId17"/>
    <p:sldId id="2076136147" r:id="rId18"/>
    <p:sldId id="2076136196" r:id="rId19"/>
    <p:sldId id="2061898023" r:id="rId20"/>
    <p:sldId id="6325" r:id="rId21"/>
    <p:sldId id="267" r:id="rId22"/>
  </p:sldIdLst>
  <p:sldSz cx="9144000" cy="5143500" type="screen16x9"/>
  <p:notesSz cx="6858000" cy="9144000"/>
  <p:custDataLst>
    <p:tags r:id="rId25"/>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pos="1440" userDrawn="1">
          <p15:clr>
            <a:srgbClr val="A4A3A4"/>
          </p15:clr>
        </p15:guide>
        <p15:guide id="2" orient="horz" pos="1620">
          <p15:clr>
            <a:srgbClr val="A4A3A4"/>
          </p15:clr>
        </p15:guide>
        <p15:guide id="3" pos="4320" userDrawn="1">
          <p15:clr>
            <a:srgbClr val="A4A3A4"/>
          </p15:clr>
        </p15:guide>
        <p15:guide id="4" orient="horz" pos="92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 id="2" name="Kari Mathisen (kmathise)" initials="KM(" lastIdx="12" clrIdx="2">
    <p:extLst>
      <p:ext uri="{19B8F6BF-5375-455C-9EA6-DF929625EA0E}">
        <p15:presenceInfo xmlns:p15="http://schemas.microsoft.com/office/powerpoint/2012/main" userId="S::kmathise@cisco.com::37848306-b60c-48a9-9887-fc83f79dbacd" providerId="AD"/>
      </p:ext>
    </p:extLst>
  </p:cmAuthor>
  <p:cmAuthor id="3" name="Sana Sana Yousuf (ssanayou)" initials="SSY(" lastIdx="1" clrIdx="3">
    <p:extLst>
      <p:ext uri="{19B8F6BF-5375-455C-9EA6-DF929625EA0E}">
        <p15:presenceInfo xmlns:p15="http://schemas.microsoft.com/office/powerpoint/2012/main" userId="S::ssanayou@cisco.com::3c57d8d7-da2a-4c73-8a43-1e1e0a89f3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274D"/>
    <a:srgbClr val="6EBE4A"/>
    <a:srgbClr val="00BCEB"/>
    <a:srgbClr val="1F4371"/>
    <a:srgbClr val="FCAA1A"/>
    <a:srgbClr val="E3241B"/>
    <a:srgbClr val="F2F2F2"/>
    <a:srgbClr val="000000"/>
    <a:srgbClr val="FFFFFF"/>
    <a:srgbClr val="E7E7E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1" autoAdjust="0"/>
    <p:restoredTop sz="83969" autoAdjust="0"/>
  </p:normalViewPr>
  <p:slideViewPr>
    <p:cSldViewPr snapToGrid="0" snapToObjects="1" showGuides="1">
      <p:cViewPr varScale="1">
        <p:scale>
          <a:sx n="121" d="100"/>
          <a:sy n="121" d="100"/>
        </p:scale>
        <p:origin x="1158" y="108"/>
      </p:cViewPr>
      <p:guideLst>
        <p:guide pos="1440"/>
        <p:guide orient="horz" pos="1620"/>
        <p:guide pos="4320"/>
        <p:guide orient="horz" pos="924"/>
      </p:guideLst>
    </p:cSldViewPr>
  </p:slideViewPr>
  <p:outlineViewPr>
    <p:cViewPr>
      <p:scale>
        <a:sx n="33" d="100"/>
        <a:sy n="33" d="100"/>
      </p:scale>
      <p:origin x="0" y="-14904"/>
    </p:cViewPr>
  </p:outlineViewPr>
  <p:notesTextViewPr>
    <p:cViewPr>
      <p:scale>
        <a:sx n="3" d="2"/>
        <a:sy n="3" d="2"/>
      </p:scale>
      <p:origin x="0" y="0"/>
    </p:cViewPr>
  </p:notesTextViewPr>
  <p:sorterViewPr>
    <p:cViewPr>
      <p:scale>
        <a:sx n="111" d="100"/>
        <a:sy n="111" d="100"/>
      </p:scale>
      <p:origin x="0" y="0"/>
    </p:cViewPr>
  </p:sorterViewPr>
  <p:notesViewPr>
    <p:cSldViewPr snapToGrid="0" snapToObjects="1" showGuides="1">
      <p:cViewPr varScale="1">
        <p:scale>
          <a:sx n="91" d="100"/>
          <a:sy n="91" d="100"/>
        </p:scale>
        <p:origin x="3504" y="2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6/1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6/1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0" i="0" dirty="0">
                <a:effectLst/>
                <a:latin typeface="CiscoSansTT Light" panose="020B0503020201020303" pitchFamily="34" charset="0"/>
                <a:ea typeface="+mj-ea"/>
                <a:cs typeface="+mj-cs"/>
                <a:sym typeface="Calibri"/>
              </a:rPr>
              <a:t>The Cisco Cybersecurity Series is our preeminent collection of thought leadership reports. This report explores the growing complexity of security ecosystems, based on industry research, interviews (both internal Advisory CISOs and Cisco customers) and data from our 2020 CISO Benchmark Survey of 2,800 global IT and security professionals. The report offers insights on breach impacts along with trends showing the integration of security technologies and vendor consolidation to reduce complexity. Several best practices and expert advice for pathways </a:t>
            </a:r>
            <a:r>
              <a:rPr lang="en-US" sz="1200" b="0" i="0">
                <a:effectLst/>
                <a:latin typeface="CiscoSansTT Light" panose="020B0503020201020303" pitchFamily="34" charset="0"/>
                <a:ea typeface="+mj-ea"/>
                <a:cs typeface="+mj-cs"/>
                <a:sym typeface="Calibri"/>
              </a:rPr>
              <a:t>to simplify </a:t>
            </a:r>
            <a:r>
              <a:rPr lang="en-US" sz="1200" b="0" i="0" dirty="0">
                <a:effectLst/>
                <a:latin typeface="CiscoSansTT Light" panose="020B0503020201020303" pitchFamily="34" charset="0"/>
                <a:ea typeface="+mj-ea"/>
                <a:cs typeface="+mj-cs"/>
                <a:sym typeface="Calibri"/>
              </a:rPr>
              <a:t>security while improving effectiveness are provided.</a:t>
            </a: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117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 marR="0" lvl="0" indent="0" defTabSz="457200" eaLnBrk="1" fontAlgn="auto" latinLnBrk="0" hangingPunct="1">
              <a:lnSpc>
                <a:spcPct val="100000"/>
              </a:lnSpc>
              <a:spcBef>
                <a:spcPts val="0"/>
              </a:spcBef>
              <a:spcAft>
                <a:spcPts val="600"/>
              </a:spcAft>
              <a:buClrTx/>
              <a:buSzTx/>
              <a:buFontTx/>
              <a:buNone/>
              <a:tabLst/>
              <a:defRPr/>
            </a:pPr>
            <a:r>
              <a:rPr lang="en-US" sz="1200" b="0" i="0" kern="1200" dirty="0">
                <a:solidFill>
                  <a:schemeClr val="tx1"/>
                </a:solidFill>
                <a:effectLst/>
                <a:latin typeface="CiscoSansTT Light" panose="020B0503020201020303" pitchFamily="34" charset="0"/>
                <a:ea typeface="+mj-ea"/>
                <a:cs typeface="+mj-cs"/>
                <a:sym typeface="Calibri"/>
              </a:rPr>
              <a:t>Security teams are seeing a host of outcomes and they’re realizing these benefits faster than ever before. Here are some </a:t>
            </a:r>
            <a:r>
              <a:rPr lang="en-US" sz="1200" b="0" i="0" kern="1200" dirty="0">
                <a:solidFill>
                  <a:schemeClr val="accent1"/>
                </a:solidFill>
                <a:effectLst/>
                <a:latin typeface="CiscoSansTT Light" panose="020B0503020201020303" pitchFamily="34" charset="0"/>
                <a:ea typeface="+mj-ea"/>
                <a:cs typeface="+mj-cs"/>
                <a:sym typeface="Calibri"/>
              </a:rPr>
              <a:t>f</a:t>
            </a:r>
            <a:r>
              <a:rPr lang="en-US" dirty="0">
                <a:solidFill>
                  <a:schemeClr val="accent1"/>
                </a:solidFill>
              </a:rPr>
              <a:t>oundational strategies from our advisory CISOs:</a:t>
            </a:r>
            <a:br>
              <a:rPr lang="en-US" dirty="0"/>
            </a:br>
            <a:endParaRPr lang="en-US" sz="1200" b="1" dirty="0"/>
          </a:p>
          <a:p>
            <a:pPr marL="57150" indent="0">
              <a:lnSpc>
                <a:spcPct val="100000"/>
              </a:lnSpc>
              <a:spcBef>
                <a:spcPts val="0"/>
              </a:spcBef>
              <a:spcAft>
                <a:spcPts val="600"/>
              </a:spcAft>
              <a:buNone/>
            </a:pPr>
            <a:r>
              <a:rPr lang="en-US" sz="1200" b="1" dirty="0"/>
              <a:t>Consider integration to be a key part of the  buying decision . </a:t>
            </a:r>
          </a:p>
          <a:p>
            <a:pPr marL="57150" indent="0">
              <a:lnSpc>
                <a:spcPct val="100000"/>
              </a:lnSpc>
              <a:spcBef>
                <a:spcPts val="0"/>
              </a:spcBef>
              <a:spcAft>
                <a:spcPts val="600"/>
              </a:spcAft>
              <a:buNone/>
            </a:pPr>
            <a:r>
              <a:rPr lang="en-GB" sz="1200" dirty="0"/>
              <a:t>– </a:t>
            </a:r>
            <a:r>
              <a:rPr lang="en-US" sz="1200" dirty="0"/>
              <a:t>Drive technology choices based on how they natively integrates the backend solutions with built-in interoperability for a unified frontend</a:t>
            </a:r>
            <a:r>
              <a:rPr lang="en-GB" sz="800" dirty="0"/>
              <a:t> </a:t>
            </a:r>
            <a:r>
              <a:rPr lang="en-GB" sz="1200" dirty="0"/>
              <a:t>experience.</a:t>
            </a:r>
          </a:p>
          <a:p>
            <a:pPr marL="57150" indent="0">
              <a:lnSpc>
                <a:spcPct val="100000"/>
              </a:lnSpc>
              <a:spcBef>
                <a:spcPts val="0"/>
              </a:spcBef>
              <a:spcAft>
                <a:spcPts val="600"/>
              </a:spcAft>
              <a:buNone/>
            </a:pPr>
            <a:r>
              <a:rPr lang="en-US" sz="1200" b="1" dirty="0"/>
              <a:t>Bring NetOps, ITOps, and SecOps into alignment . </a:t>
            </a:r>
          </a:p>
          <a:p>
            <a:pPr marL="57150" indent="0">
              <a:lnSpc>
                <a:spcPct val="100000"/>
              </a:lnSpc>
              <a:spcBef>
                <a:spcPts val="0"/>
              </a:spcBef>
              <a:spcAft>
                <a:spcPts val="600"/>
              </a:spcAft>
              <a:buNone/>
            </a:pPr>
            <a:r>
              <a:rPr lang="en-GB" sz="1200" dirty="0"/>
              <a:t>-Employees shouldn’t have to struggle to collaborate. Make security an enabler so that they have shared context needed to deliver strong outcomes</a:t>
            </a:r>
            <a:r>
              <a:rPr lang="en-GB" sz="800" dirty="0"/>
              <a:t>.</a:t>
            </a:r>
          </a:p>
          <a:p>
            <a:pPr marL="57150" indent="0">
              <a:lnSpc>
                <a:spcPct val="100000"/>
              </a:lnSpc>
              <a:spcBef>
                <a:spcPts val="0"/>
              </a:spcBef>
              <a:spcAft>
                <a:spcPts val="600"/>
              </a:spcAft>
              <a:buNone/>
            </a:pPr>
            <a:r>
              <a:rPr lang="en-US" sz="1200" b="1" dirty="0"/>
              <a:t>Guide your decision making with a security maturity model . </a:t>
            </a:r>
          </a:p>
          <a:p>
            <a:pPr marL="57150" indent="0">
              <a:lnSpc>
                <a:spcPct val="100000"/>
              </a:lnSpc>
              <a:spcBef>
                <a:spcPts val="0"/>
              </a:spcBef>
              <a:spcAft>
                <a:spcPts val="600"/>
              </a:spcAft>
              <a:buNone/>
            </a:pPr>
            <a:r>
              <a:rPr lang="en-GB" sz="1200" dirty="0"/>
              <a:t>-Pick a security maturity model and be proactive about your trajectory . Choose a platform that help you simplify your security ecosystem, not complicate it.</a:t>
            </a:r>
          </a:p>
          <a:p>
            <a:pPr marL="57150" indent="0">
              <a:lnSpc>
                <a:spcPct val="100000"/>
              </a:lnSpc>
              <a:spcBef>
                <a:spcPts val="0"/>
              </a:spcBef>
              <a:spcAft>
                <a:spcPts val="600"/>
              </a:spcAft>
              <a:buNone/>
            </a:pPr>
            <a:r>
              <a:rPr lang="en-US" sz="1200" b="1" dirty="0"/>
              <a:t>Give your people one view to focus on, not twenty . </a:t>
            </a:r>
          </a:p>
          <a:p>
            <a:pPr marL="57150" indent="0">
              <a:lnSpc>
                <a:spcPct val="100000"/>
              </a:lnSpc>
              <a:spcBef>
                <a:spcPts val="0"/>
              </a:spcBef>
              <a:spcAft>
                <a:spcPts val="600"/>
              </a:spcAft>
              <a:buNone/>
            </a:pPr>
            <a:r>
              <a:rPr lang="en-US" sz="1200" dirty="0"/>
              <a:t>-Get rid of the swivel chair problem with unified visibility and ability to streamline workflows. Save time and enhance productivity with a simpler, more consistent experience . </a:t>
            </a:r>
          </a:p>
          <a:p>
            <a:pPr marL="57150" indent="0">
              <a:lnSpc>
                <a:spcPct val="100000"/>
              </a:lnSpc>
              <a:spcBef>
                <a:spcPts val="0"/>
              </a:spcBef>
              <a:spcAft>
                <a:spcPts val="600"/>
              </a:spcAft>
              <a:buNone/>
            </a:pPr>
            <a:r>
              <a:rPr lang="en-US" sz="1200" b="1" dirty="0"/>
              <a:t>Use automation wherever you can to make your teams more efficient .</a:t>
            </a:r>
          </a:p>
          <a:p>
            <a:pPr marL="57150" indent="0">
              <a:lnSpc>
                <a:spcPct val="100000"/>
              </a:lnSpc>
              <a:spcBef>
                <a:spcPts val="0"/>
              </a:spcBef>
              <a:spcAft>
                <a:spcPts val="600"/>
              </a:spcAft>
              <a:buNone/>
            </a:pPr>
            <a:r>
              <a:rPr lang="en-US" sz="1200" dirty="0"/>
              <a:t>-Simplify workflows that inefficiently stretched across multiple interfaces with the strengthen of automation.</a:t>
            </a:r>
            <a:r>
              <a:rPr lang="en-US" sz="1200" b="0" i="0" kern="1200" dirty="0">
                <a:solidFill>
                  <a:schemeClr val="tx1"/>
                </a:solidFill>
                <a:effectLst/>
                <a:latin typeface="CiscoSansTT Light" panose="020B0503020201020303" pitchFamily="34" charset="0"/>
                <a:ea typeface="+mj-ea"/>
                <a:cs typeface="+mj-cs"/>
                <a:sym typeface="Calibri"/>
              </a:rPr>
              <a:t>team should have  shared context, enabling them to collaborate better than ever before. </a:t>
            </a:r>
          </a:p>
          <a:p>
            <a:pPr marL="57150" indent="0">
              <a:lnSpc>
                <a:spcPct val="100000"/>
              </a:lnSpc>
              <a:spcBef>
                <a:spcPts val="0"/>
              </a:spcBef>
              <a:spcAft>
                <a:spcPts val="600"/>
              </a:spcAft>
              <a:buNone/>
            </a:pPr>
            <a:r>
              <a:rPr lang="en-US" sz="1200" b="1" i="0" kern="1200" dirty="0">
                <a:solidFill>
                  <a:schemeClr val="tx1"/>
                </a:solidFill>
                <a:effectLst/>
                <a:latin typeface="CiscoSansTT Light" panose="020B0503020201020303" pitchFamily="34" charset="0"/>
                <a:ea typeface="+mj-ea"/>
                <a:cs typeface="+mj-cs"/>
                <a:sym typeface="Calibri"/>
              </a:rPr>
              <a:t>When you can get more productivity out of your people, your security strengthens.</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18656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 indent="0">
              <a:lnSpc>
                <a:spcPct val="100000"/>
              </a:lnSpc>
              <a:spcBef>
                <a:spcPts val="0"/>
              </a:spcBef>
              <a:spcAft>
                <a:spcPts val="600"/>
              </a:spcAft>
              <a:buNone/>
            </a:pPr>
            <a:r>
              <a:rPr lang="en-US" sz="1200"/>
              <a:t>Organization can realize desired outcomes informed by measurable outcomes, meaningful metrics and analytics. </a:t>
            </a:r>
          </a:p>
          <a:p>
            <a:pPr marL="57150" indent="0">
              <a:lnSpc>
                <a:spcPct val="100000"/>
              </a:lnSpc>
              <a:spcBef>
                <a:spcPts val="0"/>
              </a:spcBef>
              <a:spcAft>
                <a:spcPts val="600"/>
              </a:spcAft>
              <a:buNone/>
            </a:pPr>
            <a:endParaRPr lang="en-US" sz="1200"/>
          </a:p>
          <a:p>
            <a:pPr marL="0" indent="0">
              <a:buNone/>
            </a:pPr>
            <a:endParaRPr lang="en-US" b="1"/>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CiscoSansTT ExtraLight"/>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CiscoSansTT ExtraLight"/>
            </a:endParaRPr>
          </a:p>
        </p:txBody>
      </p:sp>
    </p:spTree>
    <p:extLst>
      <p:ext uri="{BB962C8B-B14F-4D97-AF65-F5344CB8AC3E}">
        <p14:creationId xmlns:p14="http://schemas.microsoft.com/office/powerpoint/2010/main" val="804920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CiscoSansTT Light" panose="020B0503020201020303" pitchFamily="34" charset="0"/>
                <a:ea typeface="+mj-ea"/>
                <a:cs typeface="+mj-cs"/>
                <a:sym typeface="Calibri"/>
              </a:rPr>
              <a:t>SecureX doesn’t just connect to Cisco products, it transforms Our customers infrastructure from a series of disjointed solutions into a fully integrated environment. </a:t>
            </a:r>
          </a:p>
          <a:p>
            <a:endParaRPr lang="en-US" sz="1200" b="0" i="0" kern="1200" dirty="0">
              <a:solidFill>
                <a:schemeClr val="tx1"/>
              </a:solidFill>
              <a:effectLst/>
              <a:latin typeface="CiscoSansTT Light" panose="020B0503020201020303" pitchFamily="34" charset="0"/>
              <a:ea typeface="+mj-ea"/>
              <a:cs typeface="+mj-cs"/>
              <a:sym typeface="Calibri"/>
            </a:endParaRPr>
          </a:p>
          <a:p>
            <a:r>
              <a:rPr lang="en-US" sz="1200" b="0" i="0" kern="1200" dirty="0">
                <a:solidFill>
                  <a:schemeClr val="tx1"/>
                </a:solidFill>
                <a:effectLst/>
                <a:latin typeface="CiscoSansTT Light" panose="020B0503020201020303" pitchFamily="34" charset="0"/>
                <a:ea typeface="+mj-ea"/>
                <a:cs typeface="+mj-cs"/>
                <a:sym typeface="Calibri"/>
              </a:rPr>
              <a:t>We know that Cisco is not the only vendor Our customers  use. Because SecureX offers out-of-the-box interoperability, Our customers  can  instantly connect every tool—Cisco or otherwise—on a single platform. </a:t>
            </a:r>
            <a:r>
              <a:rPr lang="en-US" sz="1200" b="1" i="0" kern="1200" dirty="0">
                <a:solidFill>
                  <a:schemeClr val="tx1"/>
                </a:solidFill>
                <a:effectLst/>
                <a:latin typeface="CiscoSansTT Light" panose="020B0503020201020303" pitchFamily="34" charset="0"/>
                <a:ea typeface="+mj-ea"/>
                <a:cs typeface="+mj-cs"/>
                <a:sym typeface="Calibri"/>
              </a:rPr>
              <a:t>So if they have identity solutions from Palo Alto or MFA from another provider – great! Bring them to our platform so everything you have can work better, together. </a:t>
            </a:r>
          </a:p>
          <a:p>
            <a:endParaRPr lang="en-US" sz="1200" b="0" i="0" kern="1200" dirty="0">
              <a:solidFill>
                <a:schemeClr val="tx1"/>
              </a:solidFill>
              <a:effectLst/>
              <a:latin typeface="CiscoSansTT Light" panose="020B0503020201020303" pitchFamily="34" charset="0"/>
              <a:ea typeface="+mj-ea"/>
              <a:cs typeface="+mj-cs"/>
              <a:sym typeface="Calibri"/>
            </a:endParaRPr>
          </a:p>
          <a:p>
            <a:r>
              <a:rPr lang="en-US" sz="1200" b="0" i="0" kern="1200" dirty="0">
                <a:solidFill>
                  <a:schemeClr val="tx1"/>
                </a:solidFill>
                <a:effectLst/>
                <a:latin typeface="CiscoSansTT Light" panose="020B0503020201020303" pitchFamily="34" charset="0"/>
                <a:ea typeface="+mj-ea"/>
                <a:cs typeface="+mj-cs"/>
                <a:sym typeface="Calibri"/>
              </a:rPr>
              <a:t>Unlock the full potential of every one of your existing security investments by unifying visibility, enabling automation, and strengthening security.</a:t>
            </a:r>
          </a:p>
          <a:p>
            <a:endParaRPr lang="en-US" sz="1200" b="0" i="0" kern="1200" dirty="0">
              <a:solidFill>
                <a:schemeClr val="tx1"/>
              </a:solidFill>
              <a:effectLst/>
              <a:latin typeface="CiscoSansTT Light" panose="020B0503020201020303" pitchFamily="34" charset="0"/>
              <a:ea typeface="+mj-ea"/>
              <a:cs typeface="+mj-cs"/>
              <a:sym typeface="Calibri"/>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b="1" dirty="0">
              <a:solidFill>
                <a:srgbClr val="0D274D"/>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b="1" dirty="0">
              <a:solidFill>
                <a:srgbClr val="0D274D"/>
              </a:solidFill>
            </a:endParaRPr>
          </a:p>
          <a:p>
            <a:endParaRPr lang="en-US" dirty="0"/>
          </a:p>
        </p:txBody>
      </p:sp>
    </p:spTree>
    <p:extLst>
      <p:ext uri="{BB962C8B-B14F-4D97-AF65-F5344CB8AC3E}">
        <p14:creationId xmlns:p14="http://schemas.microsoft.com/office/powerpoint/2010/main" val="9823958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400"/>
              </a:spcBef>
              <a:spcAft>
                <a:spcPts val="0"/>
              </a:spcAft>
              <a:buClrTx/>
              <a:buSzTx/>
              <a:buFontTx/>
              <a:buNone/>
              <a:tabLst/>
              <a:defRPr/>
            </a:pPr>
            <a:r>
              <a:rPr lang="en-US" sz="1200" b="0" i="0" dirty="0">
                <a:effectLst/>
                <a:latin typeface="CiscoSansTT Light" panose="020B0503020201020303" pitchFamily="34" charset="0"/>
                <a:ea typeface="+mj-ea"/>
                <a:cs typeface="+mj-cs"/>
                <a:sym typeface="Calibri"/>
              </a:rPr>
              <a:t>In </a:t>
            </a:r>
            <a:r>
              <a:rPr lang="en-US" sz="1200" b="1" i="0" dirty="0">
                <a:effectLst/>
                <a:latin typeface="CiscoSansTT Light" panose="020B0503020201020303" pitchFamily="34" charset="0"/>
                <a:ea typeface="+mj-ea"/>
                <a:cs typeface="+mj-cs"/>
                <a:sym typeface="Calibri"/>
              </a:rPr>
              <a:t>Simplify to Secure</a:t>
            </a:r>
            <a:r>
              <a:rPr lang="en-GB" sz="1200" b="1" i="1" dirty="0">
                <a:effectLst/>
                <a:latin typeface="CiscoSansTT Light" panose="020B0503020201020303" pitchFamily="34" charset="0"/>
                <a:ea typeface="+mj-ea"/>
                <a:cs typeface="+mj-cs"/>
                <a:sym typeface="Calibri"/>
              </a:rPr>
              <a:t>, </a:t>
            </a:r>
            <a:r>
              <a:rPr lang="en-US" sz="1200" b="0" i="0" dirty="0">
                <a:effectLst/>
                <a:latin typeface="CiscoSansTT Light" panose="020B0503020201020303" pitchFamily="34" charset="0"/>
                <a:ea typeface="+mj-ea"/>
                <a:cs typeface="+mj-cs"/>
                <a:sym typeface="Calibri"/>
              </a:rPr>
              <a:t>we examine the implications of the persistent treadmill of integrating a multitude of point solutions from an overly saturated cybersecurity industry. We explore and question the approach of solving every new problem with a new technology and usher in a paradigm shift by outlining the advantages and efficiencies that can be gained through a platform approach to security.</a:t>
            </a:r>
          </a:p>
          <a:p>
            <a:pPr marL="0" marR="0" lvl="0" indent="0" defTabSz="457200" eaLnBrk="1" fontAlgn="auto" latinLnBrk="0" hangingPunct="1">
              <a:lnSpc>
                <a:spcPct val="100000"/>
              </a:lnSpc>
              <a:spcBef>
                <a:spcPts val="400"/>
              </a:spcBef>
              <a:spcAft>
                <a:spcPts val="0"/>
              </a:spcAft>
              <a:buClrTx/>
              <a:buSzTx/>
              <a:buFontTx/>
              <a:buNone/>
              <a:tabLst/>
              <a:defRPr/>
            </a:pPr>
            <a:r>
              <a:rPr lang="en-US" sz="1200" b="1" dirty="0">
                <a:solidFill>
                  <a:srgbClr val="0D274D"/>
                </a:solidFill>
                <a:latin typeface="CiscoSansTT ExtraLight"/>
              </a:rPr>
              <a:t>Key Takeaway: </a:t>
            </a:r>
            <a:r>
              <a:rPr lang="en-US" sz="1200" dirty="0">
                <a:solidFill>
                  <a:srgbClr val="0D274D"/>
                </a:solidFill>
                <a:latin typeface="CiscoSansTT ExtraLight"/>
              </a:rPr>
              <a:t>Enable the organization to accelerate adoption of a platform approach to security.</a:t>
            </a:r>
          </a:p>
          <a:p>
            <a:endParaRPr lang="en-US" dirty="0"/>
          </a:p>
          <a:p>
            <a:endParaRPr lang="en-US" dirty="0"/>
          </a:p>
        </p:txBody>
      </p:sp>
    </p:spTree>
    <p:extLst>
      <p:ext uri="{BB962C8B-B14F-4D97-AF65-F5344CB8AC3E}">
        <p14:creationId xmlns:p14="http://schemas.microsoft.com/office/powerpoint/2010/main" val="2138677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ositive shifts like moving to the cloud and other elements of digital transformation are a double-edged sword. Although they drive your business forward, they put additional pressure on your security team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ready entrenched in the process of keeping your business secure, your security professionals are now asking themselves questions like:</a:t>
            </a:r>
          </a:p>
          <a:p>
            <a:pPr marL="171450" indent="-171450" algn="l">
              <a:buFont typeface="Arial" panose="020B0604020202020204" pitchFamily="34" charset="0"/>
              <a:buChar char="•"/>
            </a:pPr>
            <a:r>
              <a:rPr lang="en-US" b="0" dirty="0"/>
              <a:t>How can I maintain visibility across my infrastructur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dirty="0"/>
              <a:t>How do I find security professionals to integrate all these tools that don’t work with one another?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dirty="0"/>
              <a:t>How can I maintain security as my perimeter evolves?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t>At times, it might feel like you can’t secure every new business endeavor.</a:t>
            </a:r>
          </a:p>
          <a:p>
            <a:pPr marL="0" indent="0">
              <a:buFont typeface="Arial" panose="020B0604020202020204" pitchFamily="34" charset="0"/>
              <a:buNone/>
            </a:pPr>
            <a:endParaRPr lang="en-US" dirty="0"/>
          </a:p>
          <a:p>
            <a:endParaRPr lang="en-US" dirty="0"/>
          </a:p>
        </p:txBody>
      </p:sp>
    </p:spTree>
    <p:extLst>
      <p:ext uri="{BB962C8B-B14F-4D97-AF65-F5344CB8AC3E}">
        <p14:creationId xmlns:p14="http://schemas.microsoft.com/office/powerpoint/2010/main" val="5562901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400"/>
              </a:spcBef>
              <a:spcAft>
                <a:spcPts val="0"/>
              </a:spcAft>
              <a:buClrTx/>
              <a:buSzTx/>
              <a:buFontTx/>
              <a:buNone/>
              <a:tabLst/>
              <a:defRPr/>
            </a:pPr>
            <a:r>
              <a:rPr lang="en-US" sz="1200" b="1" dirty="0">
                <a:solidFill>
                  <a:schemeClr val="accent1"/>
                </a:solidFill>
              </a:rPr>
              <a:t>Adding new security technology can create challenges: </a:t>
            </a:r>
            <a:r>
              <a:rPr lang="en-US" sz="1200" dirty="0"/>
              <a:t>Every new solution that does not natively integrate with your existing technology contributes to siloed visibility and creates complexity by multiplying security gaps. With the lack of built-in interoperability, security teams are left with the task of stitching them together. </a:t>
            </a:r>
          </a:p>
          <a:p>
            <a:endParaRPr lang="en-US" dirty="0"/>
          </a:p>
          <a:p>
            <a:endParaRPr lang="en-US" dirty="0"/>
          </a:p>
        </p:txBody>
      </p:sp>
    </p:spTree>
    <p:extLst>
      <p:ext uri="{BB962C8B-B14F-4D97-AF65-F5344CB8AC3E}">
        <p14:creationId xmlns:p14="http://schemas.microsoft.com/office/powerpoint/2010/main" val="3562111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 indent="0">
              <a:buNone/>
            </a:pPr>
            <a:r>
              <a:rPr lang="en-US" sz="1200"/>
              <a:t>The multi-vendor approach results in an overwhelming number of alerts and limits alert prioritization. Our 2020 CISO Benchmark data shows that alert fatigue sufferers find a multi-vendor environment challenging.</a:t>
            </a:r>
          </a:p>
          <a:p>
            <a:pPr marL="57150" indent="0">
              <a:buNone/>
            </a:pPr>
            <a:r>
              <a:rPr lang="en-US" sz="1100" i="1"/>
              <a:t>In 2020 CISO Benchmark Survey, CISOs reported that they’re only able to investigate 51% of their security alerts. Of those investigated alerts, 50% of the legitimate alerts are not remediated. </a:t>
            </a:r>
          </a:p>
          <a:p>
            <a:pPr marL="57150" indent="0">
              <a:lnSpc>
                <a:spcPct val="100000"/>
              </a:lnSpc>
              <a:spcBef>
                <a:spcPts val="0"/>
              </a:spcBef>
              <a:spcAft>
                <a:spcPts val="600"/>
              </a:spcAft>
              <a:buNone/>
            </a:pPr>
            <a:endParaRPr lang="en-US" sz="1200"/>
          </a:p>
          <a:p>
            <a:pPr marL="57150" indent="0">
              <a:lnSpc>
                <a:spcPct val="100000"/>
              </a:lnSpc>
              <a:spcBef>
                <a:spcPts val="0"/>
              </a:spcBef>
              <a:spcAft>
                <a:spcPts val="600"/>
              </a:spcAft>
              <a:buNone/>
            </a:pPr>
            <a:endParaRPr lang="en-US" sz="1200"/>
          </a:p>
          <a:p>
            <a:pPr marL="57150" indent="0">
              <a:lnSpc>
                <a:spcPct val="100000"/>
              </a:lnSpc>
              <a:spcBef>
                <a:spcPts val="0"/>
              </a:spcBef>
              <a:spcAft>
                <a:spcPts val="600"/>
              </a:spcAft>
              <a:buNone/>
            </a:pPr>
            <a:endParaRPr lang="en-GB" sz="1100"/>
          </a:p>
          <a:p>
            <a:endParaRPr lang="en-US"/>
          </a:p>
          <a:p>
            <a:endParaRPr lang="en-US"/>
          </a:p>
        </p:txBody>
      </p:sp>
    </p:spTree>
    <p:extLst>
      <p:ext uri="{BB962C8B-B14F-4D97-AF65-F5344CB8AC3E}">
        <p14:creationId xmlns:p14="http://schemas.microsoft.com/office/powerpoint/2010/main" val="2129911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0" i="0" kern="1200" dirty="0">
                <a:solidFill>
                  <a:schemeClr val="tx1"/>
                </a:solidFill>
                <a:effectLst/>
                <a:latin typeface="CiscoSansTT Light" panose="020B0503020201020303" pitchFamily="34" charset="0"/>
                <a:ea typeface="+mj-ea"/>
                <a:cs typeface="+mj-cs"/>
                <a:sym typeface="Calibri"/>
              </a:rPr>
              <a:t>The increasing demands are likely why we continue to see a trend towards vendor consolidation in security. </a:t>
            </a:r>
          </a:p>
          <a:p>
            <a:r>
              <a:rPr lang="en-US" sz="1200" b="0" i="0" kern="1200" dirty="0">
                <a:solidFill>
                  <a:schemeClr val="tx1"/>
                </a:solidFill>
                <a:effectLst/>
                <a:latin typeface="CiscoSansTT Light" panose="020B0503020201020303" pitchFamily="34" charset="0"/>
                <a:ea typeface="+mj-ea"/>
                <a:cs typeface="+mj-cs"/>
                <a:sym typeface="Calibri"/>
              </a:rPr>
              <a:t>In 2018, 21% of respondents relied on more than 20 vendors, whereas in 2020 only 13% of respondents relied on a such a large number. </a:t>
            </a:r>
            <a:r>
              <a:rPr lang="en-US" sz="1200" dirty="0">
                <a:sym typeface="Calibri"/>
              </a:rPr>
              <a:t>Those with only 1-20 vendors rose from 79% to 86% in two years, while those with more than 50 vendors dropped.</a:t>
            </a:r>
          </a:p>
          <a:p>
            <a:pPr marL="57150" indent="0">
              <a:lnSpc>
                <a:spcPct val="100000"/>
              </a:lnSpc>
              <a:spcBef>
                <a:spcPts val="0"/>
              </a:spcBef>
              <a:spcAft>
                <a:spcPts val="600"/>
              </a:spcAft>
              <a:buNone/>
            </a:pPr>
            <a:endParaRPr lang="en-US" sz="1200" dirty="0">
              <a:sym typeface="Calibri"/>
            </a:endParaRPr>
          </a:p>
          <a:p>
            <a:pPr marL="57150" indent="0">
              <a:lnSpc>
                <a:spcPct val="100000"/>
              </a:lnSpc>
              <a:spcBef>
                <a:spcPts val="0"/>
              </a:spcBef>
              <a:spcAft>
                <a:spcPts val="600"/>
              </a:spcAft>
              <a:buNone/>
            </a:pPr>
            <a:endParaRPr lang="en-US" sz="1200" dirty="0"/>
          </a:p>
          <a:p>
            <a:endParaRPr lang="en-US" dirty="0"/>
          </a:p>
        </p:txBody>
      </p:sp>
    </p:spTree>
    <p:extLst>
      <p:ext uri="{BB962C8B-B14F-4D97-AF65-F5344CB8AC3E}">
        <p14:creationId xmlns:p14="http://schemas.microsoft.com/office/powerpoint/2010/main" val="4365240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400"/>
              </a:spcBef>
              <a:spcAft>
                <a:spcPts val="0"/>
              </a:spcAft>
              <a:buClrTx/>
              <a:buSzTx/>
              <a:buFontTx/>
              <a:buNone/>
              <a:tabLst/>
              <a:defRPr/>
            </a:pPr>
            <a:r>
              <a:rPr lang="en-US">
                <a:solidFill>
                  <a:schemeClr val="accent1"/>
                </a:solidFill>
              </a:rPr>
              <a:t>Vendor/solution complexity can significantly degrade breach readiness and impact.</a:t>
            </a:r>
            <a:r>
              <a:rPr lang="en-US" sz="1200"/>
              <a:t> We saw a negative correlation between the number of vendors in an environment, and the resulting impact on downtime.</a:t>
            </a:r>
            <a:endParaRPr lang="en-US"/>
          </a:p>
        </p:txBody>
      </p:sp>
    </p:spTree>
    <p:extLst>
      <p:ext uri="{BB962C8B-B14F-4D97-AF65-F5344CB8AC3E}">
        <p14:creationId xmlns:p14="http://schemas.microsoft.com/office/powerpoint/2010/main" val="1090416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 indent="0">
              <a:lnSpc>
                <a:spcPct val="100000"/>
              </a:lnSpc>
              <a:spcBef>
                <a:spcPts val="0"/>
              </a:spcBef>
              <a:spcAft>
                <a:spcPts val="600"/>
              </a:spcAft>
              <a:buNone/>
            </a:pPr>
            <a:r>
              <a:rPr lang="en-GB" sz="1200" dirty="0">
                <a:solidFill>
                  <a:schemeClr val="accent1"/>
                </a:solidFill>
              </a:rPr>
              <a:t>A platform approach is the pathway to effective security </a:t>
            </a:r>
          </a:p>
          <a:p>
            <a:pPr marL="57150" indent="0">
              <a:lnSpc>
                <a:spcPct val="100000"/>
              </a:lnSpc>
              <a:spcBef>
                <a:spcPts val="0"/>
              </a:spcBef>
              <a:spcAft>
                <a:spcPts val="600"/>
              </a:spcAft>
              <a:buNone/>
            </a:pPr>
            <a:r>
              <a:rPr lang="en-US" sz="1200" dirty="0"/>
              <a:t>Organizations need foundational, portfolio-wide capabilities at the platform level in order to experience the full potential of their products. </a:t>
            </a:r>
          </a:p>
          <a:p>
            <a:pPr marL="57150" indent="0">
              <a:lnSpc>
                <a:spcPct val="100000"/>
              </a:lnSpc>
              <a:spcBef>
                <a:spcPts val="0"/>
              </a:spcBef>
              <a:spcAft>
                <a:spcPts val="600"/>
              </a:spcAft>
              <a:buNone/>
            </a:pPr>
            <a:r>
              <a:rPr lang="en-US" sz="1200" dirty="0"/>
              <a:t>Backend integration across the security ecosystem can enable a streamlined frontend experience — one that can unify visibility, enable automations, and strengthen security.</a:t>
            </a:r>
          </a:p>
          <a:p>
            <a:pPr marL="57150" indent="0">
              <a:lnSpc>
                <a:spcPct val="100000"/>
              </a:lnSpc>
              <a:spcBef>
                <a:spcPts val="0"/>
              </a:spcBef>
              <a:spcAft>
                <a:spcPts val="600"/>
              </a:spcAft>
              <a:buNone/>
            </a:pPr>
            <a:endParaRPr lang="en-US" sz="1200" dirty="0"/>
          </a:p>
          <a:p>
            <a:pPr marL="57150" indent="0">
              <a:lnSpc>
                <a:spcPct val="100000"/>
              </a:lnSpc>
              <a:spcBef>
                <a:spcPts val="0"/>
              </a:spcBef>
              <a:spcAft>
                <a:spcPts val="600"/>
              </a:spcAft>
              <a:buNone/>
            </a:pPr>
            <a:endParaRPr lang="en-US" sz="1200" dirty="0"/>
          </a:p>
          <a:p>
            <a:endParaRPr lang="en-US" dirty="0"/>
          </a:p>
        </p:txBody>
      </p:sp>
    </p:spTree>
    <p:extLst>
      <p:ext uri="{BB962C8B-B14F-4D97-AF65-F5344CB8AC3E}">
        <p14:creationId xmlns:p14="http://schemas.microsoft.com/office/powerpoint/2010/main" val="241697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57150" indent="0">
              <a:lnSpc>
                <a:spcPct val="100000"/>
              </a:lnSpc>
              <a:spcBef>
                <a:spcPts val="0"/>
              </a:spcBef>
              <a:spcAft>
                <a:spcPts val="600"/>
              </a:spcAft>
              <a:buClr>
                <a:srgbClr val="00BCEB"/>
              </a:buClr>
              <a:buFont typeface="Arial" charset="0"/>
              <a:buNone/>
            </a:pPr>
            <a:r>
              <a:rPr lang="en-US" sz="1200" dirty="0">
                <a:solidFill>
                  <a:srgbClr val="FFFFFF"/>
                </a:solidFill>
                <a:latin typeface="CiscoSansTT ExtraLight"/>
                <a:sym typeface="Calibri"/>
              </a:rPr>
              <a:t>In our 2020 CISO Benchmark Study data, we saw a trend to reduce complexity through vendor consolidation over the last few years. Those with 1-20 vendors rose from 79% to 86% in two years, while those with more than 50 vendors dropped.</a:t>
            </a:r>
          </a:p>
          <a:p>
            <a:pPr marL="57150" indent="0">
              <a:lnSpc>
                <a:spcPct val="100000"/>
              </a:lnSpc>
              <a:spcBef>
                <a:spcPts val="0"/>
              </a:spcBef>
              <a:spcAft>
                <a:spcPts val="600"/>
              </a:spcAft>
              <a:buClr>
                <a:srgbClr val="00BCEB"/>
              </a:buClr>
              <a:buFont typeface="Arial" charset="0"/>
              <a:buNone/>
            </a:pPr>
            <a:endParaRPr lang="en-US" sz="1200" dirty="0">
              <a:solidFill>
                <a:srgbClr val="FFFFFF"/>
              </a:solidFill>
              <a:latin typeface="CiscoSansTT ExtraLight"/>
              <a:sym typeface="Calibri"/>
            </a:endParaRPr>
          </a:p>
          <a:p>
            <a:pPr marL="57150" indent="0">
              <a:lnSpc>
                <a:spcPct val="100000"/>
              </a:lnSpc>
              <a:spcBef>
                <a:spcPts val="0"/>
              </a:spcBef>
              <a:spcAft>
                <a:spcPts val="600"/>
              </a:spcAft>
              <a:buClr>
                <a:srgbClr val="00BCEB"/>
              </a:buClr>
              <a:buFont typeface="Arial" charset="0"/>
              <a:buNone/>
            </a:pPr>
            <a:endParaRPr lang="en-US" sz="1200" dirty="0">
              <a:solidFill>
                <a:srgbClr val="FFFFFF"/>
              </a:solidFill>
              <a:latin typeface="CiscoSansTT ExtraLight"/>
            </a:endParaRPr>
          </a:p>
          <a:p>
            <a:endParaRPr lang="en-US" dirty="0"/>
          </a:p>
        </p:txBody>
      </p:sp>
    </p:spTree>
    <p:extLst>
      <p:ext uri="{BB962C8B-B14F-4D97-AF65-F5344CB8AC3E}">
        <p14:creationId xmlns:p14="http://schemas.microsoft.com/office/powerpoint/2010/main" val="239837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nchor="t"/>
          <a:lstStyle>
            <a:lvl1pPr marL="0" indent="0">
              <a:spcBef>
                <a:spcPts val="6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grpSp>
        <p:nvGrpSpPr>
          <p:cNvPr id="2" name="Group 1">
            <a:extLst>
              <a:ext uri="{FF2B5EF4-FFF2-40B4-BE49-F238E27FC236}">
                <a16:creationId xmlns:a16="http://schemas.microsoft.com/office/drawing/2014/main" id="{01A6899F-6FED-BF42-A542-980B0B4428D5}"/>
              </a:ext>
            </a:extLst>
          </p:cNvPr>
          <p:cNvGrpSpPr/>
          <p:nvPr userDrawn="1"/>
        </p:nvGrpSpPr>
        <p:grpSpPr>
          <a:xfrm>
            <a:off x="469642" y="391308"/>
            <a:ext cx="2033863" cy="422624"/>
            <a:chOff x="469642" y="391308"/>
            <a:chExt cx="2033863" cy="422624"/>
          </a:xfrm>
        </p:grpSpPr>
        <p:sp>
          <p:nvSpPr>
            <p:cNvPr id="21" name="Freeform 20">
              <a:extLst>
                <a:ext uri="{FF2B5EF4-FFF2-40B4-BE49-F238E27FC236}">
                  <a16:creationId xmlns:a16="http://schemas.microsoft.com/office/drawing/2014/main" id="{F6572D07-2355-2043-AD6A-1E0659E6A53A}"/>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dirty="0"/>
              <a:t>Section Title Goes Here</a:t>
            </a:r>
            <a:endParaRPr lang="en-US" dirty="0"/>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2"/>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391677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dirty="0"/>
              <a:t>Big Text Here</a:t>
            </a:r>
            <a:endParaRPr dirty="0"/>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dirty="0"/>
              <a:t>Bullet one goes here</a:t>
            </a:r>
          </a:p>
          <a:p>
            <a:pPr lvl="0"/>
            <a:endParaRPr lang="en-US" dirty="0"/>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2"/>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659100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accent2"/>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bg1"/>
                </a:solidFill>
              </a:defRPr>
            </a:lvl1pPr>
          </a:lstStyle>
          <a:p>
            <a:r>
              <a:rPr lang="en-US" dirty="0"/>
              <a:t>Big Text Here</a:t>
            </a:r>
            <a:endParaRPr dirty="0"/>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a:prstGeom prst="rect">
            <a:avLst/>
          </a:prstGeom>
        </p:spPr>
        <p:txBody>
          <a:bodyPr anchor="ctr">
            <a:noAutofit/>
          </a:bodyPr>
          <a:lstStyle>
            <a:lvl1pPr marL="274320" indent="-274320">
              <a:spcBef>
                <a:spcPts val="2400"/>
              </a:spcBef>
              <a:buClr>
                <a:schemeClr val="tx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dirty="0"/>
              <a:t>Bullet one goes here</a:t>
            </a:r>
          </a:p>
          <a:p>
            <a:pPr lvl="0"/>
            <a:endParaRPr lang="en-US" dirty="0"/>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745226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86BE431-24C5-E54F-A4C8-A1F6009F30BD}"/>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accent2"/>
                </a:solidFill>
              </a:defRPr>
            </a:lvl1pPr>
          </a:lstStyle>
          <a:p>
            <a:r>
              <a:rPr lang="en-US" dirty="0"/>
              <a:t>##</a:t>
            </a:r>
            <a:endParaRPr dirty="0"/>
          </a:p>
        </p:txBody>
      </p:sp>
      <p:sp>
        <p:nvSpPr>
          <p:cNvPr id="18" name="Text Placeholder 12">
            <a:extLst>
              <a:ext uri="{FF2B5EF4-FFF2-40B4-BE49-F238E27FC236}">
                <a16:creationId xmlns:a16="http://schemas.microsoft.com/office/drawing/2014/main" id="{9FE0A934-72D8-3949-B463-B67D8D143AE8}"/>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accent2"/>
                </a:solidFill>
              </a:defRPr>
            </a:lvl1pPr>
          </a:lstStyle>
          <a:p>
            <a:pPr lvl="0"/>
            <a:r>
              <a:rPr lang="en-US" dirty="0"/>
              <a:t>##</a:t>
            </a:r>
          </a:p>
        </p:txBody>
      </p:sp>
      <p:sp>
        <p:nvSpPr>
          <p:cNvPr id="19" name="Text Placeholder 2">
            <a:extLst>
              <a:ext uri="{FF2B5EF4-FFF2-40B4-BE49-F238E27FC236}">
                <a16:creationId xmlns:a16="http://schemas.microsoft.com/office/drawing/2014/main" id="{5E9655FC-3F61-9F49-8308-EF0FB5AE227B}"/>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accent2"/>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dirty="0"/>
              <a:t>##</a:t>
            </a:r>
          </a:p>
        </p:txBody>
      </p:sp>
      <p:sp>
        <p:nvSpPr>
          <p:cNvPr id="20" name="Text Placeholder 14">
            <a:extLst>
              <a:ext uri="{FF2B5EF4-FFF2-40B4-BE49-F238E27FC236}">
                <a16:creationId xmlns:a16="http://schemas.microsoft.com/office/drawing/2014/main" id="{D1FE9F11-9B68-8542-8CD5-4A31007623A3}"/>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2"/>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1" name="Text Placeholder 14">
            <a:extLst>
              <a:ext uri="{FF2B5EF4-FFF2-40B4-BE49-F238E27FC236}">
                <a16:creationId xmlns:a16="http://schemas.microsoft.com/office/drawing/2014/main" id="{DA1D0FD9-814A-854E-B303-72F77DDDF739}"/>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accent2"/>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22" name="Text Placeholder 14">
            <a:extLst>
              <a:ext uri="{FF2B5EF4-FFF2-40B4-BE49-F238E27FC236}">
                <a16:creationId xmlns:a16="http://schemas.microsoft.com/office/drawing/2014/main" id="{87E4A93B-F98D-9148-A567-7F60A945CB4C}"/>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accent2"/>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Tree>
    <p:extLst>
      <p:ext uri="{BB962C8B-B14F-4D97-AF65-F5344CB8AC3E}">
        <p14:creationId xmlns:p14="http://schemas.microsoft.com/office/powerpoint/2010/main" val="551160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accent2"/>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438722" y="1923291"/>
            <a:ext cx="2560320" cy="731839"/>
          </a:xfrm>
          <a:prstGeom prst="rect">
            <a:avLst/>
          </a:prstGeom>
        </p:spPr>
        <p:txBody>
          <a:bodyPr anchor="b">
            <a:noAutofit/>
          </a:bodyPr>
          <a:lstStyle>
            <a:lvl1pPr>
              <a:lnSpc>
                <a:spcPct val="80000"/>
              </a:lnSpc>
              <a:defRPr sz="4000" baseline="0">
                <a:solidFill>
                  <a:schemeClr val="bg1"/>
                </a:solidFill>
              </a:defRPr>
            </a:lvl1pPr>
          </a:lstStyle>
          <a:p>
            <a:r>
              <a:rPr lang="en-US" dirty="0"/>
              <a:t>##</a:t>
            </a:r>
            <a:endParaRPr dirty="0"/>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186733" y="1923416"/>
            <a:ext cx="2560320" cy="731838"/>
          </a:xfrm>
          <a:prstGeom prst="rect">
            <a:avLst/>
          </a:prstGeom>
        </p:spPr>
        <p:txBody>
          <a:bodyPr anchor="b">
            <a:noAutofit/>
          </a:bodyPr>
          <a:lstStyle>
            <a:lvl1pPr marL="0" indent="0">
              <a:buNone/>
              <a:defRPr sz="4000" baseline="0">
                <a:solidFill>
                  <a:schemeClr val="bg1"/>
                </a:solidFill>
              </a:defRPr>
            </a:lvl1pPr>
          </a:lstStyle>
          <a:p>
            <a:pPr lvl="0"/>
            <a:r>
              <a:rPr lang="en-US" dirty="0"/>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312727" y="1923291"/>
            <a:ext cx="256032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no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dirty="0"/>
              <a:t>##</a:t>
            </a:r>
          </a:p>
        </p:txBody>
      </p:sp>
      <p:sp>
        <p:nvSpPr>
          <p:cNvPr id="8" name="Text Placeholder 14">
            <a:extLst>
              <a:ext uri="{FF2B5EF4-FFF2-40B4-BE49-F238E27FC236}">
                <a16:creationId xmlns:a16="http://schemas.microsoft.com/office/drawing/2014/main" id="{BF524472-0C76-3244-B104-518268EC6AAC}"/>
              </a:ext>
            </a:extLst>
          </p:cNvPr>
          <p:cNvSpPr>
            <a:spLocks noGrp="1"/>
          </p:cNvSpPr>
          <p:nvPr>
            <p:ph type="body" sz="quarter" idx="16" hasCustomPrompt="1"/>
          </p:nvPr>
        </p:nvSpPr>
        <p:spPr>
          <a:xfrm>
            <a:off x="3312727"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buSzPct val="100000"/>
              <a:tabLst>
                <a:tab pos="171450" algn="l"/>
              </a:tabLst>
              <a:defRPr lang="en-US" dirty="0">
                <a:solidFill>
                  <a:schemeClr val="tx1"/>
                </a:solidFill>
              </a:defRPr>
            </a:lvl2pPr>
            <a:lvl3pPr marL="347472" indent="-173736">
              <a:buClrTx/>
              <a:buSzPct val="80000"/>
              <a:tabLst/>
              <a:defRPr lang="en-US" dirty="0">
                <a:solidFill>
                  <a:schemeClr val="tx1"/>
                </a:solidFill>
              </a:defRPr>
            </a:lvl3pPr>
            <a:lvl4pPr marL="521208" indent="-173038">
              <a:buClrTx/>
              <a:buSzPct val="100000"/>
              <a:tabLst/>
              <a:defRPr lang="en-US" dirty="0">
                <a:solidFill>
                  <a:schemeClr val="tx1"/>
                </a:solidFill>
              </a:defRPr>
            </a:lvl4pPr>
            <a:lvl5pPr marL="744538" indent="-169863">
              <a:buClrTx/>
              <a:buSzPct val="100000"/>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9" name="Text Placeholder 14">
            <a:extLst>
              <a:ext uri="{FF2B5EF4-FFF2-40B4-BE49-F238E27FC236}">
                <a16:creationId xmlns:a16="http://schemas.microsoft.com/office/drawing/2014/main" id="{96946D87-E546-C540-BA0D-AC6D38EB25CF}"/>
              </a:ext>
            </a:extLst>
          </p:cNvPr>
          <p:cNvSpPr>
            <a:spLocks noGrp="1"/>
          </p:cNvSpPr>
          <p:nvPr>
            <p:ph type="body" sz="quarter" idx="17" hasCustomPrompt="1"/>
          </p:nvPr>
        </p:nvSpPr>
        <p:spPr>
          <a:xfrm>
            <a:off x="6186733" y="2777490"/>
            <a:ext cx="2560320" cy="1737360"/>
          </a:xfrm>
          <a:prstGeom prst="rect">
            <a:avLst/>
          </a:prstGeom>
        </p:spPr>
        <p:txBody>
          <a:bodyPr vert="horz" lIns="91440" tIns="45720" rIns="91440" bIns="45720" rtlCol="0">
            <a:noAutofit/>
          </a:bodyPr>
          <a:lstStyle>
            <a:lvl1pPr marL="7938" indent="-7938">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7472" indent="-174625">
              <a:buClrTx/>
              <a:tabLst/>
              <a:defRPr lang="en-US" dirty="0">
                <a:solidFill>
                  <a:schemeClr val="tx1"/>
                </a:solidFill>
              </a:defRPr>
            </a:lvl3pPr>
            <a:lvl4pPr marL="521208" indent="-173038">
              <a:buClrTx/>
              <a:tabLst/>
              <a:defRPr lang="en-US" dirty="0">
                <a:solidFill>
                  <a:schemeClr val="tx1"/>
                </a:solidFill>
              </a:defRPr>
            </a:lvl4pPr>
            <a:lvl5pPr marL="744538" indent="-169863">
              <a:buClrTx/>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14" name="Text Placeholder 14">
            <a:extLst>
              <a:ext uri="{FF2B5EF4-FFF2-40B4-BE49-F238E27FC236}">
                <a16:creationId xmlns:a16="http://schemas.microsoft.com/office/drawing/2014/main" id="{F580CAE0-CE55-554D-9765-2D4829851B1B}"/>
              </a:ext>
            </a:extLst>
          </p:cNvPr>
          <p:cNvSpPr>
            <a:spLocks noGrp="1"/>
          </p:cNvSpPr>
          <p:nvPr>
            <p:ph type="body" sz="quarter" idx="18" hasCustomPrompt="1"/>
          </p:nvPr>
        </p:nvSpPr>
        <p:spPr>
          <a:xfrm>
            <a:off x="438722" y="2777490"/>
            <a:ext cx="2560320" cy="1737360"/>
          </a:xfrm>
          <a:prstGeom prst="rect">
            <a:avLst/>
          </a:prstGeom>
        </p:spPr>
        <p:txBody>
          <a:bodyPr vert="horz" lIns="91440" tIns="45720" rIns="91440" bIns="45720" rtlCol="0">
            <a:noAutofit/>
          </a:bodyPr>
          <a:lstStyle>
            <a:lvl1pPr marL="6350" indent="-6350">
              <a:buClr>
                <a:schemeClr val="accent2"/>
              </a:buClr>
              <a:buNone/>
              <a:tabLst/>
              <a:defRPr lang="en-US" dirty="0">
                <a:solidFill>
                  <a:schemeClr val="bg1"/>
                </a:solidFill>
              </a:defRPr>
            </a:lvl1pPr>
            <a:lvl2pPr marL="174625" indent="-174625">
              <a:buClrTx/>
              <a:tabLst>
                <a:tab pos="171450" algn="l"/>
              </a:tabLst>
              <a:defRPr lang="en-US" dirty="0">
                <a:solidFill>
                  <a:schemeClr val="tx1"/>
                </a:solidFill>
              </a:defRPr>
            </a:lvl2pPr>
            <a:lvl3pPr marL="344488" indent="-173736">
              <a:buClrTx/>
              <a:tabLst/>
              <a:defRPr lang="en-US" dirty="0">
                <a:solidFill>
                  <a:schemeClr val="tx1"/>
                </a:solidFill>
              </a:defRPr>
            </a:lvl3pPr>
            <a:lvl4pPr marL="521208" indent="-171450">
              <a:buClrTx/>
              <a:tabLst/>
              <a:defRPr lang="en-US" dirty="0">
                <a:solidFill>
                  <a:schemeClr val="tx1"/>
                </a:solidFill>
              </a:defRPr>
            </a:lvl4pPr>
            <a:lvl5pPr marL="694944" indent="-173038">
              <a:buClrTx/>
              <a:tabLst>
                <a:tab pos="681038" algn="l"/>
              </a:tabLst>
              <a:defRPr lang="en-US" dirty="0">
                <a:solidFill>
                  <a:schemeClr val="tx1"/>
                </a:solidFill>
              </a:defRPr>
            </a:lvl5pPr>
          </a:lstStyle>
          <a:p>
            <a:pPr lvl="0"/>
            <a:r>
              <a:rPr lang="en-US" dirty="0"/>
              <a:t>Subtitle (Use “Indent More” or ‘Indent Less to format sub-bullets)</a:t>
            </a:r>
          </a:p>
          <a:p>
            <a:pPr lvl="1"/>
            <a:r>
              <a:rPr lang="en-US" dirty="0"/>
              <a:t>First level</a:t>
            </a:r>
          </a:p>
          <a:p>
            <a:pPr lvl="2"/>
            <a:r>
              <a:rPr lang="en-US" dirty="0"/>
              <a:t>Second level</a:t>
            </a:r>
          </a:p>
          <a:p>
            <a:pPr lvl="3"/>
            <a:r>
              <a:rPr lang="en-US" dirty="0"/>
              <a:t>Third level (avoid using)</a:t>
            </a:r>
          </a:p>
        </p:txBody>
      </p:sp>
      <p:sp>
        <p:nvSpPr>
          <p:cNvPr id="10" name="Rectangle 7">
            <a:extLst>
              <a:ext uri="{FF2B5EF4-FFF2-40B4-BE49-F238E27FC236}">
                <a16:creationId xmlns:a16="http://schemas.microsoft.com/office/drawing/2014/main" id="{EBF7D149-1621-9141-B9C3-C6BA64906AA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dirty="0">
              <a:solidFill>
                <a:schemeClr val="bg1">
                  <a:alpha val="50000"/>
                </a:schemeClr>
              </a:solidFill>
              <a:latin typeface="+mn-lt"/>
              <a:ea typeface="+mn-ea"/>
              <a:cs typeface="CiscoSans Thin"/>
            </a:endParaRPr>
          </a:p>
        </p:txBody>
      </p:sp>
      <p:grpSp>
        <p:nvGrpSpPr>
          <p:cNvPr id="11" name="Group 10">
            <a:extLst>
              <a:ext uri="{FF2B5EF4-FFF2-40B4-BE49-F238E27FC236}">
                <a16:creationId xmlns:a16="http://schemas.microsoft.com/office/drawing/2014/main" id="{D2BA6257-42D6-774F-AD8E-3FFA86AD6E7B}"/>
              </a:ext>
            </a:extLst>
          </p:cNvPr>
          <p:cNvGrpSpPr/>
          <p:nvPr userDrawn="1"/>
        </p:nvGrpSpPr>
        <p:grpSpPr>
          <a:xfrm>
            <a:off x="528763" y="4712481"/>
            <a:ext cx="921665" cy="191516"/>
            <a:chOff x="528763" y="4734321"/>
            <a:chExt cx="816561" cy="169676"/>
          </a:xfrm>
          <a:solidFill>
            <a:schemeClr val="bg2"/>
          </a:solidFill>
        </p:grpSpPr>
        <p:grpSp>
          <p:nvGrpSpPr>
            <p:cNvPr id="12" name="Graphic 2">
              <a:extLst>
                <a:ext uri="{FF2B5EF4-FFF2-40B4-BE49-F238E27FC236}">
                  <a16:creationId xmlns:a16="http://schemas.microsoft.com/office/drawing/2014/main" id="{76503339-BD3A-CC45-8D8D-5B5D3083432C}"/>
                </a:ext>
              </a:extLst>
            </p:cNvPr>
            <p:cNvGrpSpPr/>
            <p:nvPr userDrawn="1"/>
          </p:nvGrpSpPr>
          <p:grpSpPr>
            <a:xfrm>
              <a:off x="896434" y="4795886"/>
              <a:ext cx="448890" cy="108111"/>
              <a:chOff x="4433187" y="1865375"/>
              <a:chExt cx="2298157" cy="553493"/>
            </a:xfrm>
            <a:grpFill/>
          </p:grpSpPr>
          <p:sp>
            <p:nvSpPr>
              <p:cNvPr id="15" name="Freeform 14">
                <a:extLst>
                  <a:ext uri="{FF2B5EF4-FFF2-40B4-BE49-F238E27FC236}">
                    <a16:creationId xmlns:a16="http://schemas.microsoft.com/office/drawing/2014/main" id="{CB59CE23-5698-464B-BA95-E9591F909679}"/>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16" name="Freeform 15">
                <a:extLst>
                  <a:ext uri="{FF2B5EF4-FFF2-40B4-BE49-F238E27FC236}">
                    <a16:creationId xmlns:a16="http://schemas.microsoft.com/office/drawing/2014/main" id="{6A80F06C-4295-124D-8416-F503104FB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17" name="Freeform 16">
                <a:extLst>
                  <a:ext uri="{FF2B5EF4-FFF2-40B4-BE49-F238E27FC236}">
                    <a16:creationId xmlns:a16="http://schemas.microsoft.com/office/drawing/2014/main" id="{60FA535D-A809-FB46-A2DF-1F40C30443EA}"/>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18" name="Freeform 17">
                <a:extLst>
                  <a:ext uri="{FF2B5EF4-FFF2-40B4-BE49-F238E27FC236}">
                    <a16:creationId xmlns:a16="http://schemas.microsoft.com/office/drawing/2014/main" id="{9272B5C5-4B9B-F24F-97DC-76FACFFF3BAD}"/>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19" name="Freeform 18">
                <a:extLst>
                  <a:ext uri="{FF2B5EF4-FFF2-40B4-BE49-F238E27FC236}">
                    <a16:creationId xmlns:a16="http://schemas.microsoft.com/office/drawing/2014/main" id="{BFB97A4E-08FB-1440-BC1F-2C99F1D9BA1D}"/>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0" name="Freeform 19">
                <a:extLst>
                  <a:ext uri="{FF2B5EF4-FFF2-40B4-BE49-F238E27FC236}">
                    <a16:creationId xmlns:a16="http://schemas.microsoft.com/office/drawing/2014/main" id="{405E2E43-2B0E-574B-8DEF-E281B82E4F63}"/>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3" name="Freeform 6">
              <a:extLst>
                <a:ext uri="{FF2B5EF4-FFF2-40B4-BE49-F238E27FC236}">
                  <a16:creationId xmlns:a16="http://schemas.microsoft.com/office/drawing/2014/main" id="{CBD1A6A0-85A8-9547-B8B6-17A023F60628}"/>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1" name="Rectangle 4">
            <a:extLst>
              <a:ext uri="{FF2B5EF4-FFF2-40B4-BE49-F238E27FC236}">
                <a16:creationId xmlns:a16="http://schemas.microsoft.com/office/drawing/2014/main" id="{D062C616-14A8-3347-B71B-037844E9B1CB}"/>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spTree>
    <p:extLst>
      <p:ext uri="{BB962C8B-B14F-4D97-AF65-F5344CB8AC3E}">
        <p14:creationId xmlns:p14="http://schemas.microsoft.com/office/powerpoint/2010/main" val="11084737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bg1"/>
                </a:solidFill>
                <a:latin typeface="+mj-lt"/>
                <a:cs typeface="CiscoSans Thin"/>
              </a:defRPr>
            </a:lvl1pPr>
          </a:lstStyle>
          <a:p>
            <a:r>
              <a:rPr lang="en-US" dirty="0"/>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dirty="0">
              <a:solidFill>
                <a:schemeClr val="bg2">
                  <a:alpha val="50000"/>
                </a:schemeClr>
              </a:solidFill>
              <a:latin typeface="+mn-lt"/>
              <a:ea typeface="+mn-ea"/>
              <a:cs typeface="CiscoSans Thin"/>
            </a:endParaRPr>
          </a:p>
        </p:txBody>
      </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alpha val="50000"/>
                  </a:schemeClr>
                </a:solidFill>
                <a:latin typeface="+mn-lt"/>
                <a:ea typeface="+mn-ea"/>
                <a:cs typeface="CiscoSans Thin"/>
              </a:rPr>
              <a:t>© 2020 Cisco and/or its affiliates. All rights reserved. </a:t>
            </a:r>
          </a:p>
        </p:txBody>
      </p:sp>
      <p:grpSp>
        <p:nvGrpSpPr>
          <p:cNvPr id="16" name="Group 15">
            <a:extLst>
              <a:ext uri="{FF2B5EF4-FFF2-40B4-BE49-F238E27FC236}">
                <a16:creationId xmlns:a16="http://schemas.microsoft.com/office/drawing/2014/main" id="{785CA0C6-3E93-2F46-B3EF-7F2C16A39845}"/>
              </a:ext>
            </a:extLst>
          </p:cNvPr>
          <p:cNvGrpSpPr/>
          <p:nvPr userDrawn="1"/>
        </p:nvGrpSpPr>
        <p:grpSpPr>
          <a:xfrm>
            <a:off x="528763" y="4712481"/>
            <a:ext cx="921665" cy="191516"/>
            <a:chOff x="528763" y="4712481"/>
            <a:chExt cx="921665" cy="191516"/>
          </a:xfrm>
        </p:grpSpPr>
        <p:grpSp>
          <p:nvGrpSpPr>
            <p:cNvPr id="17" name="Graphic 2">
              <a:extLst>
                <a:ext uri="{FF2B5EF4-FFF2-40B4-BE49-F238E27FC236}">
                  <a16:creationId xmlns:a16="http://schemas.microsoft.com/office/drawing/2014/main" id="{9D86B5C0-7043-3D42-9A79-A5576E21C8CA}"/>
                </a:ext>
              </a:extLst>
            </p:cNvPr>
            <p:cNvGrpSpPr/>
            <p:nvPr userDrawn="1"/>
          </p:nvGrpSpPr>
          <p:grpSpPr>
            <a:xfrm>
              <a:off x="943759" y="4781970"/>
              <a:ext cx="506669" cy="122027"/>
              <a:chOff x="4433187" y="1865375"/>
              <a:chExt cx="2298157" cy="553493"/>
            </a:xfrm>
            <a:solidFill>
              <a:schemeClr val="accent2"/>
            </a:solidFill>
          </p:grpSpPr>
          <p:sp>
            <p:nvSpPr>
              <p:cNvPr id="19" name="Freeform 18">
                <a:extLst>
                  <a:ext uri="{FF2B5EF4-FFF2-40B4-BE49-F238E27FC236}">
                    <a16:creationId xmlns:a16="http://schemas.microsoft.com/office/drawing/2014/main" id="{6F8DA6C8-9214-9E46-BA75-20DE995EC072}"/>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0" name="Freeform 19">
                <a:extLst>
                  <a:ext uri="{FF2B5EF4-FFF2-40B4-BE49-F238E27FC236}">
                    <a16:creationId xmlns:a16="http://schemas.microsoft.com/office/drawing/2014/main" id="{85BBACBA-546E-DC48-B869-1C2F26B6BBCC}"/>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60B14426-50A1-6542-8A35-43B7294C0263}"/>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09F6DBA0-747B-FE41-8A99-CB27D6B106C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C62465D2-382B-0D44-BCC2-262B846B2C74}"/>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2477DCAB-7462-D442-8548-55EE30F4A225}"/>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8" name="Freeform 6">
              <a:extLst>
                <a:ext uri="{FF2B5EF4-FFF2-40B4-BE49-F238E27FC236}">
                  <a16:creationId xmlns:a16="http://schemas.microsoft.com/office/drawing/2014/main" id="{39B3EA72-D90F-F646-A078-DD699D84950C}"/>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0998972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2200" b="0" i="0">
                <a:solidFill>
                  <a:schemeClr val="accent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tx1"/>
                </a:solidFill>
                <a:latin typeface="+mj-lt"/>
                <a:cs typeface="CiscoSans Thin"/>
              </a:defRPr>
            </a:lvl1pPr>
          </a:lstStyle>
          <a:p>
            <a:r>
              <a:rPr lang="en-US" dirty="0"/>
              <a:t>Quote text goes here</a:t>
            </a:r>
          </a:p>
        </p:txBody>
      </p:sp>
    </p:spTree>
    <p:extLst>
      <p:ext uri="{BB962C8B-B14F-4D97-AF65-F5344CB8AC3E}">
        <p14:creationId xmlns:p14="http://schemas.microsoft.com/office/powerpoint/2010/main" val="16194845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dirty="0"/>
              <a:t>Title Goes Here (28pt)</a:t>
            </a:r>
            <a:endParaRPr lang="en-GB" dirty="0"/>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a:prstGeom prst="rect">
            <a:avLst/>
          </a:prstGeom>
        </p:spPr>
        <p:txBody>
          <a:bodyPr/>
          <a:lstStyle>
            <a:lvl1pPr>
              <a:defRPr/>
            </a:lvl1pPr>
            <a:lvl2pPr>
              <a:defRPr/>
            </a:lvl2pPr>
            <a:lvl3pPr>
              <a:defRPr/>
            </a:lvl3pPr>
          </a:lstStyle>
          <a:p>
            <a:pPr lvl="0"/>
            <a:r>
              <a:rPr lang="en-US" dirty="0"/>
              <a:t>First level (use “Indent More” or “Indent Less” to format sub-bullets)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164433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dirty="0"/>
              <a:t>Title Goes Here (28pt)</a:t>
            </a:r>
            <a:endParaRPr lang="en-GB" dirty="0"/>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309360" cy="3324225"/>
          </a:xfrm>
          <a:prstGeom prst="rect">
            <a:avLst/>
          </a:prstGeom>
        </p:spPr>
        <p:txBody>
          <a:bodyPr/>
          <a:lstStyle>
            <a:lvl1pPr>
              <a:defRPr/>
            </a:lvl1pPr>
          </a:lstStyle>
          <a:p>
            <a:pPr lvl="0"/>
            <a:r>
              <a:rPr lang="en-US" dirty="0"/>
              <a:t>First level (use “Indent More” to format sub-bullet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a:extLst>
              <a:ext uri="{FF2B5EF4-FFF2-40B4-BE49-F238E27FC236}">
                <a16:creationId xmlns:a16="http://schemas.microsoft.com/office/drawing/2014/main" id="{A7C08659-229C-BD4C-B05F-D404CDE9C3F3}"/>
              </a:ext>
            </a:extLst>
          </p:cNvPr>
          <p:cNvGrpSpPr/>
          <p:nvPr userDrawn="1"/>
        </p:nvGrpSpPr>
        <p:grpSpPr>
          <a:xfrm>
            <a:off x="6767538" y="2638032"/>
            <a:ext cx="2376462" cy="1536581"/>
            <a:chOff x="6767538" y="2638032"/>
            <a:chExt cx="2376462" cy="1536581"/>
          </a:xfrm>
        </p:grpSpPr>
        <p:sp>
          <p:nvSpPr>
            <p:cNvPr id="8" name="Freeform 2">
              <a:extLst>
                <a:ext uri="{FF2B5EF4-FFF2-40B4-BE49-F238E27FC236}">
                  <a16:creationId xmlns:a16="http://schemas.microsoft.com/office/drawing/2014/main" id="{4910B3A8-9E20-484E-B975-980C5FC275DC}"/>
                </a:ext>
              </a:extLst>
            </p:cNvPr>
            <p:cNvSpPr/>
            <p:nvPr userDrawn="1"/>
          </p:nvSpPr>
          <p:spPr>
            <a:xfrm>
              <a:off x="8138293"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19" name="Oval 18">
              <a:extLst>
                <a:ext uri="{FF2B5EF4-FFF2-40B4-BE49-F238E27FC236}">
                  <a16:creationId xmlns:a16="http://schemas.microsoft.com/office/drawing/2014/main" id="{12042D90-1F8E-234B-AE7A-88FC4599C6F8}"/>
                </a:ext>
              </a:extLst>
            </p:cNvPr>
            <p:cNvSpPr>
              <a:spLocks noChangeAspect="1"/>
            </p:cNvSpPr>
            <p:nvPr userDrawn="1"/>
          </p:nvSpPr>
          <p:spPr>
            <a:xfrm>
              <a:off x="6767538" y="3103152"/>
              <a:ext cx="606340" cy="60634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a:extLst>
                <a:ext uri="{FF2B5EF4-FFF2-40B4-BE49-F238E27FC236}">
                  <a16:creationId xmlns:a16="http://schemas.microsoft.com/office/drawing/2014/main" id="{240B2BE8-2880-4247-945B-7FBB437F0366}"/>
                </a:ext>
              </a:extLst>
            </p:cNvPr>
            <p:cNvSpPr>
              <a:spLocks noChangeAspect="1"/>
            </p:cNvSpPr>
            <p:nvPr userDrawn="1"/>
          </p:nvSpPr>
          <p:spPr>
            <a:xfrm>
              <a:off x="8098390" y="3260035"/>
              <a:ext cx="292575" cy="29257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21">
              <a:extLst>
                <a:ext uri="{FF2B5EF4-FFF2-40B4-BE49-F238E27FC236}">
                  <a16:creationId xmlns:a16="http://schemas.microsoft.com/office/drawing/2014/main" id="{6A607C05-72CA-8541-B06C-1BBBE74B30D2}"/>
                </a:ext>
              </a:extLst>
            </p:cNvPr>
            <p:cNvSpPr/>
            <p:nvPr/>
          </p:nvSpPr>
          <p:spPr>
            <a:xfrm>
              <a:off x="7433951" y="2856043"/>
              <a:ext cx="1106608" cy="1100559"/>
            </a:xfrm>
            <a:custGeom>
              <a:avLst/>
              <a:gdLst>
                <a:gd name="connsiteX0" fmla="*/ 416164 w 832328"/>
                <a:gd name="connsiteY0" fmla="*/ 827763 h 827779"/>
                <a:gd name="connsiteX1" fmla="*/ 413688 w 832328"/>
                <a:gd name="connsiteY1" fmla="*/ 826721 h 827779"/>
                <a:gd name="connsiteX2" fmla="*/ 1065 w 832328"/>
                <a:gd name="connsiteY2" fmla="*/ 416353 h 827779"/>
                <a:gd name="connsiteX3" fmla="*/ 1000 w 832328"/>
                <a:gd name="connsiteY3" fmla="*/ 411397 h 827779"/>
                <a:gd name="connsiteX4" fmla="*/ 1065 w 832328"/>
                <a:gd name="connsiteY4" fmla="*/ 411332 h 827779"/>
                <a:gd name="connsiteX5" fmla="*/ 413688 w 832328"/>
                <a:gd name="connsiteY5" fmla="*/ 1059 h 827779"/>
                <a:gd name="connsiteX6" fmla="*/ 418671 w 832328"/>
                <a:gd name="connsiteY6" fmla="*/ 995 h 827779"/>
                <a:gd name="connsiteX7" fmla="*/ 418736 w 832328"/>
                <a:gd name="connsiteY7" fmla="*/ 1059 h 827779"/>
                <a:gd name="connsiteX8" fmla="*/ 831264 w 832328"/>
                <a:gd name="connsiteY8" fmla="*/ 411332 h 827779"/>
                <a:gd name="connsiteX9" fmla="*/ 831328 w 832328"/>
                <a:gd name="connsiteY9" fmla="*/ 416289 h 827779"/>
                <a:gd name="connsiteX10" fmla="*/ 831264 w 832328"/>
                <a:gd name="connsiteY10" fmla="*/ 416353 h 827779"/>
                <a:gd name="connsiteX11" fmla="*/ 419117 w 832328"/>
                <a:gd name="connsiteY11" fmla="*/ 826721 h 827779"/>
                <a:gd name="connsiteX12" fmla="*/ 416164 w 832328"/>
                <a:gd name="connsiteY12" fmla="*/ 827763 h 827779"/>
                <a:gd name="connsiteX13" fmla="*/ 8685 w 832328"/>
                <a:gd name="connsiteY13" fmla="*/ 413701 h 827779"/>
                <a:gd name="connsiteX14" fmla="*/ 416164 w 832328"/>
                <a:gd name="connsiteY14" fmla="*/ 819143 h 827779"/>
                <a:gd name="connsiteX15" fmla="*/ 823739 w 832328"/>
                <a:gd name="connsiteY15" fmla="*/ 413701 h 827779"/>
                <a:gd name="connsiteX16" fmla="*/ 416164 w 832328"/>
                <a:gd name="connsiteY16" fmla="*/ 8543 h 82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2328" h="827779">
                  <a:moveTo>
                    <a:pt x="416164" y="827763"/>
                  </a:moveTo>
                  <a:cubicBezTo>
                    <a:pt x="415231" y="827766"/>
                    <a:pt x="414336" y="827389"/>
                    <a:pt x="413688" y="826721"/>
                  </a:cubicBezTo>
                  <a:lnTo>
                    <a:pt x="1065" y="416353"/>
                  </a:lnTo>
                  <a:cubicBezTo>
                    <a:pt x="-329" y="415002"/>
                    <a:pt x="-358" y="412783"/>
                    <a:pt x="1000" y="411397"/>
                  </a:cubicBezTo>
                  <a:cubicBezTo>
                    <a:pt x="1021" y="411375"/>
                    <a:pt x="1043" y="411354"/>
                    <a:pt x="1065" y="411332"/>
                  </a:cubicBezTo>
                  <a:lnTo>
                    <a:pt x="413688" y="1059"/>
                  </a:lnTo>
                  <a:cubicBezTo>
                    <a:pt x="415046" y="-327"/>
                    <a:pt x="417277" y="-356"/>
                    <a:pt x="418671" y="995"/>
                  </a:cubicBezTo>
                  <a:cubicBezTo>
                    <a:pt x="418693" y="1016"/>
                    <a:pt x="418715" y="1037"/>
                    <a:pt x="418736" y="1059"/>
                  </a:cubicBezTo>
                  <a:lnTo>
                    <a:pt x="831264" y="411332"/>
                  </a:lnTo>
                  <a:cubicBezTo>
                    <a:pt x="832658" y="412683"/>
                    <a:pt x="832687" y="414902"/>
                    <a:pt x="831328" y="416289"/>
                  </a:cubicBezTo>
                  <a:cubicBezTo>
                    <a:pt x="831307" y="416311"/>
                    <a:pt x="831286" y="416332"/>
                    <a:pt x="831264" y="416353"/>
                  </a:cubicBezTo>
                  <a:lnTo>
                    <a:pt x="419117" y="826721"/>
                  </a:lnTo>
                  <a:cubicBezTo>
                    <a:pt x="418335" y="827485"/>
                    <a:pt x="417255" y="827866"/>
                    <a:pt x="416164" y="827763"/>
                  </a:cubicBezTo>
                  <a:close/>
                  <a:moveTo>
                    <a:pt x="8685" y="413701"/>
                  </a:moveTo>
                  <a:lnTo>
                    <a:pt x="416164" y="819143"/>
                  </a:lnTo>
                  <a:lnTo>
                    <a:pt x="823739" y="413701"/>
                  </a:lnTo>
                  <a:lnTo>
                    <a:pt x="416164" y="8543"/>
                  </a:lnTo>
                  <a:close/>
                </a:path>
              </a:pathLst>
            </a:custGeom>
            <a:solidFill>
              <a:srgbClr val="69BD45"/>
            </a:solidFill>
            <a:ln w="9525"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B88584A-B69D-6541-A1A6-3C179D3CD33A}"/>
                </a:ext>
              </a:extLst>
            </p:cNvPr>
            <p:cNvSpPr/>
            <p:nvPr/>
          </p:nvSpPr>
          <p:spPr>
            <a:xfrm>
              <a:off x="7964439" y="2638032"/>
              <a:ext cx="1179561" cy="1536581"/>
            </a:xfrm>
            <a:custGeom>
              <a:avLst/>
              <a:gdLst>
                <a:gd name="connsiteX0" fmla="*/ 775341 w 1179561"/>
                <a:gd name="connsiteY0" fmla="*/ 1323 h 1536581"/>
                <a:gd name="connsiteX1" fmla="*/ 775427 w 1179561"/>
                <a:gd name="connsiteY1" fmla="*/ 1408 h 1536581"/>
                <a:gd name="connsiteX2" fmla="*/ 1179561 w 1179561"/>
                <a:gd name="connsiteY2" fmla="*/ 403334 h 1536581"/>
                <a:gd name="connsiteX3" fmla="*/ 1179561 w 1179561"/>
                <a:gd name="connsiteY3" fmla="*/ 416347 h 1536581"/>
                <a:gd name="connsiteX4" fmla="*/ 772134 w 1179561"/>
                <a:gd name="connsiteY4" fmla="*/ 11483 h 1536581"/>
                <a:gd name="connsiteX5" fmla="*/ 10914 w 1179561"/>
                <a:gd name="connsiteY5" fmla="*/ 768293 h 1536581"/>
                <a:gd name="connsiteX6" fmla="*/ 772134 w 1179561"/>
                <a:gd name="connsiteY6" fmla="*/ 1525355 h 1536581"/>
                <a:gd name="connsiteX7" fmla="*/ 1179561 w 1179561"/>
                <a:gd name="connsiteY7" fmla="*/ 1120357 h 1536581"/>
                <a:gd name="connsiteX8" fmla="*/ 1179561 w 1179561"/>
                <a:gd name="connsiteY8" fmla="*/ 1133630 h 1536581"/>
                <a:gd name="connsiteX9" fmla="*/ 775427 w 1179561"/>
                <a:gd name="connsiteY9" fmla="*/ 1535556 h 1536581"/>
                <a:gd name="connsiteX10" fmla="*/ 772134 w 1179561"/>
                <a:gd name="connsiteY10" fmla="*/ 1536564 h 1536581"/>
                <a:gd name="connsiteX11" fmla="*/ 768716 w 1179561"/>
                <a:gd name="connsiteY11" fmla="*/ 1535179 h 1536581"/>
                <a:gd name="connsiteX12" fmla="*/ 1416 w 1179561"/>
                <a:gd name="connsiteY12" fmla="*/ 771819 h 1536581"/>
                <a:gd name="connsiteX13" fmla="*/ 1330 w 1179561"/>
                <a:gd name="connsiteY13" fmla="*/ 765230 h 1536581"/>
                <a:gd name="connsiteX14" fmla="*/ 1416 w 1179561"/>
                <a:gd name="connsiteY14" fmla="*/ 765145 h 1536581"/>
                <a:gd name="connsiteX15" fmla="*/ 768716 w 1179561"/>
                <a:gd name="connsiteY15" fmla="*/ 1408 h 1536581"/>
                <a:gd name="connsiteX16" fmla="*/ 775341 w 1179561"/>
                <a:gd name="connsiteY16" fmla="*/ 1323 h 153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561" h="1536581">
                  <a:moveTo>
                    <a:pt x="775341" y="1323"/>
                  </a:moveTo>
                  <a:cubicBezTo>
                    <a:pt x="775370" y="1351"/>
                    <a:pt x="775400" y="1379"/>
                    <a:pt x="775427" y="1408"/>
                  </a:cubicBezTo>
                  <a:lnTo>
                    <a:pt x="1179561" y="403334"/>
                  </a:lnTo>
                  <a:lnTo>
                    <a:pt x="1179561" y="416347"/>
                  </a:lnTo>
                  <a:lnTo>
                    <a:pt x="772134" y="11483"/>
                  </a:lnTo>
                  <a:lnTo>
                    <a:pt x="10914" y="768293"/>
                  </a:lnTo>
                  <a:lnTo>
                    <a:pt x="772134" y="1525355"/>
                  </a:lnTo>
                  <a:lnTo>
                    <a:pt x="1179561" y="1120357"/>
                  </a:lnTo>
                  <a:lnTo>
                    <a:pt x="1179561" y="1133630"/>
                  </a:lnTo>
                  <a:lnTo>
                    <a:pt x="775427" y="1535556"/>
                  </a:lnTo>
                  <a:cubicBezTo>
                    <a:pt x="774505" y="1536307"/>
                    <a:pt x="773323" y="1536669"/>
                    <a:pt x="772134" y="1536564"/>
                  </a:cubicBezTo>
                  <a:cubicBezTo>
                    <a:pt x="770858" y="1536559"/>
                    <a:pt x="769632" y="1536063"/>
                    <a:pt x="768716" y="1535179"/>
                  </a:cubicBezTo>
                  <a:lnTo>
                    <a:pt x="1416" y="771819"/>
                  </a:lnTo>
                  <a:cubicBezTo>
                    <a:pt x="-438" y="770023"/>
                    <a:pt x="-476" y="767073"/>
                    <a:pt x="1330" y="765230"/>
                  </a:cubicBezTo>
                  <a:cubicBezTo>
                    <a:pt x="1358" y="765201"/>
                    <a:pt x="1387" y="765173"/>
                    <a:pt x="1416" y="765145"/>
                  </a:cubicBezTo>
                  <a:lnTo>
                    <a:pt x="768716" y="1408"/>
                  </a:lnTo>
                  <a:cubicBezTo>
                    <a:pt x="770521" y="-435"/>
                    <a:pt x="773488" y="-473"/>
                    <a:pt x="775341" y="1323"/>
                  </a:cubicBezTo>
                  <a:close/>
                </a:path>
              </a:pathLst>
            </a:custGeom>
            <a:solidFill>
              <a:schemeClr val="accent3"/>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312454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dirty="0"/>
              <a:t>Title Goes Here (28pt)</a:t>
            </a:r>
            <a:endParaRPr lang="en-GB" dirty="0"/>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6" y="1204180"/>
            <a:ext cx="5776767" cy="3324225"/>
          </a:xfrm>
          <a:prstGeom prst="rect">
            <a:avLst/>
          </a:prstGeom>
        </p:spPr>
        <p:txBody>
          <a:bodyPr/>
          <a:lstStyle>
            <a:lvl1pPr>
              <a:defRPr/>
            </a:lvl1pPr>
          </a:lstStyle>
          <a:p>
            <a:pPr lvl="0"/>
            <a:r>
              <a:rPr lang="en-US" dirty="0"/>
              <a:t>First level (use “Indent More” to format sub-bullet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2" name="Group 1">
            <a:extLst>
              <a:ext uri="{FF2B5EF4-FFF2-40B4-BE49-F238E27FC236}">
                <a16:creationId xmlns:a16="http://schemas.microsoft.com/office/drawing/2014/main" id="{B8334349-246B-8747-8834-B21ED22A0F6B}"/>
              </a:ext>
            </a:extLst>
          </p:cNvPr>
          <p:cNvGrpSpPr/>
          <p:nvPr userDrawn="1"/>
        </p:nvGrpSpPr>
        <p:grpSpPr>
          <a:xfrm>
            <a:off x="5994367" y="2003514"/>
            <a:ext cx="3149633" cy="3139986"/>
            <a:chOff x="5994367" y="2003514"/>
            <a:chExt cx="3149633" cy="3139986"/>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sp>
          <p:nvSpPr>
            <p:cNvPr id="24" name="Graphic 15">
              <a:extLst>
                <a:ext uri="{FF2B5EF4-FFF2-40B4-BE49-F238E27FC236}">
                  <a16:creationId xmlns:a16="http://schemas.microsoft.com/office/drawing/2014/main" id="{61B2E654-3726-7541-8BF3-7A6A41A2515F}"/>
                </a:ext>
              </a:extLst>
            </p:cNvPr>
            <p:cNvSpPr>
              <a:spLocks noChangeAspect="1"/>
            </p:cNvSpPr>
            <p:nvPr userDrawn="1"/>
          </p:nvSpPr>
          <p:spPr>
            <a:xfrm>
              <a:off x="5994367" y="2282468"/>
              <a:ext cx="2549557" cy="2532420"/>
            </a:xfrm>
            <a:custGeom>
              <a:avLst/>
              <a:gdLst>
                <a:gd name="connsiteX0" fmla="*/ 1898713 w 1898712"/>
                <a:gd name="connsiteY0" fmla="*/ 1885950 h 1885950"/>
                <a:gd name="connsiteX1" fmla="*/ 1898713 w 1898712"/>
                <a:gd name="connsiteY1" fmla="*/ 0 h 1885950"/>
                <a:gd name="connsiteX2" fmla="*/ 0 w 1898712"/>
                <a:gd name="connsiteY2" fmla="*/ 1885950 h 1885950"/>
                <a:gd name="connsiteX3" fmla="*/ 1898713 w 1898712"/>
                <a:gd name="connsiteY3" fmla="*/ 1885950 h 1885950"/>
              </a:gdLst>
              <a:ahLst/>
              <a:cxnLst>
                <a:cxn ang="0">
                  <a:pos x="connsiteX0" y="connsiteY0"/>
                </a:cxn>
                <a:cxn ang="0">
                  <a:pos x="connsiteX1" y="connsiteY1"/>
                </a:cxn>
                <a:cxn ang="0">
                  <a:pos x="connsiteX2" y="connsiteY2"/>
                </a:cxn>
                <a:cxn ang="0">
                  <a:pos x="connsiteX3" y="connsiteY3"/>
                </a:cxn>
              </a:cxnLst>
              <a:rect l="l" t="t" r="r" b="b"/>
              <a:pathLst>
                <a:path w="1898712" h="1885950">
                  <a:moveTo>
                    <a:pt x="1898713" y="1885950"/>
                  </a:moveTo>
                  <a:lnTo>
                    <a:pt x="1898713" y="0"/>
                  </a:lnTo>
                  <a:lnTo>
                    <a:pt x="0" y="1885950"/>
                  </a:lnTo>
                  <a:lnTo>
                    <a:pt x="1898713" y="1885950"/>
                  </a:lnTo>
                  <a:close/>
                </a:path>
              </a:pathLst>
            </a:custGeom>
            <a:noFill/>
            <a:ln w="18956" cap="flat">
              <a:solidFill>
                <a:srgbClr val="6EBE4A"/>
              </a:solidFill>
              <a:prstDash val="solid"/>
              <a:round/>
            </a:ln>
          </p:spPr>
          <p:txBody>
            <a:bodyPr rtlCol="0" anchor="ctr"/>
            <a:lstStyle/>
            <a:p>
              <a:endParaRPr lang="en-US"/>
            </a:p>
          </p:txBody>
        </p:sp>
        <p:pic>
          <p:nvPicPr>
            <p:cNvPr id="25" name="Picture 24">
              <a:extLst>
                <a:ext uri="{FF2B5EF4-FFF2-40B4-BE49-F238E27FC236}">
                  <a16:creationId xmlns:a16="http://schemas.microsoft.com/office/drawing/2014/main" id="{8FF7D66D-FD86-A149-A8F5-117A6B95054D}"/>
                </a:ext>
              </a:extLst>
            </p:cNvPr>
            <p:cNvPicPr>
              <a:picLocks noChangeAspect="1"/>
            </p:cNvPicPr>
            <p:nvPr userDrawn="1"/>
          </p:nvPicPr>
          <p:blipFill rotWithShape="1">
            <a:blip r:embed="rId2" cstate="print">
              <a:alphaModFix amt="57000"/>
              <a:extLst>
                <a:ext uri="{28A0092B-C50C-407E-A947-70E740481C1C}">
                  <a14:useLocalDpi xmlns:a14="http://schemas.microsoft.com/office/drawing/2010/main"/>
                </a:ext>
              </a:extLst>
            </a:blip>
            <a:srcRect/>
            <a:stretch/>
          </p:blipFill>
          <p:spPr>
            <a:xfrm flipH="1">
              <a:off x="6295635" y="2576064"/>
              <a:ext cx="1878266" cy="1876597"/>
            </a:xfrm>
            <a:prstGeom prst="ellipse">
              <a:avLst/>
            </a:prstGeom>
            <a:ln>
              <a:noFill/>
            </a:ln>
            <a:effectLst>
              <a:softEdge rad="0"/>
            </a:effectLst>
          </p:spPr>
        </p:pic>
        <p:pic>
          <p:nvPicPr>
            <p:cNvPr id="26" name="Picture 25">
              <a:extLst>
                <a:ext uri="{FF2B5EF4-FFF2-40B4-BE49-F238E27FC236}">
                  <a16:creationId xmlns:a16="http://schemas.microsoft.com/office/drawing/2014/main" id="{6EFFB74B-6D0F-2B4F-9D09-C30F4CF0324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684101" y="2003514"/>
              <a:ext cx="2459899" cy="3139986"/>
            </a:xfrm>
            <a:prstGeom prst="rect">
              <a:avLst/>
            </a:prstGeom>
          </p:spPr>
        </p:pic>
      </p:grpSp>
    </p:spTree>
    <p:extLst>
      <p:ext uri="{BB962C8B-B14F-4D97-AF65-F5344CB8AC3E}">
        <p14:creationId xmlns:p14="http://schemas.microsoft.com/office/powerpoint/2010/main" val="4830464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21" name="Freeform 20">
            <a:extLst>
              <a:ext uri="{FF2B5EF4-FFF2-40B4-BE49-F238E27FC236}">
                <a16:creationId xmlns:a16="http://schemas.microsoft.com/office/drawing/2014/main" id="{DE133895-CF0C-8D48-B4A3-4C94D525E188}"/>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2"/>
          </a:solidFill>
          <a:ln w="9525" cap="flat">
            <a:noFill/>
            <a:prstDash val="solid"/>
            <a:miter/>
          </a:ln>
        </p:spPr>
        <p:txBody>
          <a:bodyPr rtlCol="0" anchor="ctr"/>
          <a:lstStyle/>
          <a:p>
            <a:endParaRPr lang="en-US"/>
          </a:p>
        </p:txBody>
      </p:sp>
      <p:grpSp>
        <p:nvGrpSpPr>
          <p:cNvPr id="40" name="Group 39">
            <a:extLst>
              <a:ext uri="{FF2B5EF4-FFF2-40B4-BE49-F238E27FC236}">
                <a16:creationId xmlns:a16="http://schemas.microsoft.com/office/drawing/2014/main" id="{6CE45582-22A7-B947-B8D2-AD09E949F755}"/>
              </a:ext>
            </a:extLst>
          </p:cNvPr>
          <p:cNvGrpSpPr/>
          <p:nvPr userDrawn="1"/>
        </p:nvGrpSpPr>
        <p:grpSpPr>
          <a:xfrm>
            <a:off x="469642" y="391308"/>
            <a:ext cx="2033863" cy="422624"/>
            <a:chOff x="469642" y="391308"/>
            <a:chExt cx="2033863" cy="422624"/>
          </a:xfrm>
        </p:grpSpPr>
        <p:sp>
          <p:nvSpPr>
            <p:cNvPr id="41" name="Freeform 40">
              <a:extLst>
                <a:ext uri="{FF2B5EF4-FFF2-40B4-BE49-F238E27FC236}">
                  <a16:creationId xmlns:a16="http://schemas.microsoft.com/office/drawing/2014/main" id="{E46BE7E0-1434-204D-935D-6E0C85D42A46}"/>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42" name="Freeform 6">
              <a:extLst>
                <a:ext uri="{FF2B5EF4-FFF2-40B4-BE49-F238E27FC236}">
                  <a16:creationId xmlns:a16="http://schemas.microsoft.com/office/drawing/2014/main" id="{4F57FBEB-1812-404A-B108-C9AA309FB70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8462342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dirty="0"/>
              <a:t>Title Goes Here (28pt)</a:t>
            </a:r>
            <a:endParaRPr lang="en-GB" dirty="0"/>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454838" y="1204180"/>
            <a:ext cx="3328416" cy="3328416"/>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dirty="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846320" cy="3324225"/>
          </a:xfrm>
          <a:prstGeom prst="rect">
            <a:avLst/>
          </a:prstGeom>
        </p:spPr>
        <p:txBody>
          <a:bodyPr/>
          <a:lstStyle>
            <a:lvl1pPr>
              <a:defRPr/>
            </a:lvl1pPr>
          </a:lstStyle>
          <a:p>
            <a:pPr lvl="0"/>
            <a:r>
              <a:rPr lang="en-US" dirty="0"/>
              <a:t>First level (use “Indent More” to forma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69401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dirty="0"/>
              <a:t>Title Goes Here (28pt)</a:t>
            </a:r>
            <a:endParaRPr lang="en-GB" dirty="0"/>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0"/>
            <a:ext cx="4023360" cy="3324225"/>
          </a:xfrm>
          <a:prstGeom prst="rect">
            <a:avLst/>
          </a:prstGeom>
        </p:spPr>
        <p:txBody>
          <a:bodyPr/>
          <a:lstStyle>
            <a:lvl1pPr>
              <a:defRPr/>
            </a:lvl1pPr>
          </a:lstStyle>
          <a:p>
            <a:pPr lvl="0"/>
            <a:r>
              <a:rPr lang="en-US" dirty="0"/>
              <a:t>First level (use “Indent More” to format sub-bulle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0"/>
            <a:ext cx="4023360" cy="3324225"/>
          </a:xfrm>
          <a:prstGeom prst="rect">
            <a:avLst/>
          </a:prstGeom>
        </p:spPr>
        <p:txBody>
          <a:bodyPr/>
          <a:lstStyle>
            <a:lvl1pPr>
              <a:defRPr/>
            </a:lvl1pPr>
          </a:lstStyle>
          <a:p>
            <a:pPr lvl="0"/>
            <a:r>
              <a:rPr lang="en-US" dirty="0"/>
              <a:t>First level (use “Indent More” to format sub-bullet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80305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dirty="0"/>
              <a:t>Title Goes Here (28pt)</a:t>
            </a:r>
            <a:endParaRPr lang="en-GB" dirty="0"/>
          </a:p>
        </p:txBody>
      </p:sp>
    </p:spTree>
    <p:extLst>
      <p:ext uri="{BB962C8B-B14F-4D97-AF65-F5344CB8AC3E}">
        <p14:creationId xmlns:p14="http://schemas.microsoft.com/office/powerpoint/2010/main" val="18967244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5618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no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31029" y="3054518"/>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6"/>
            <a:ext cx="8115300" cy="2834640"/>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dirty="0"/>
              <a:t>Click icon to add table</a:t>
            </a:r>
            <a:endParaRPr lang="en-GB" noProof="0" dirty="0"/>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dirty="0"/>
              <a:t>Title Goes Here (28pt)</a:t>
            </a:r>
            <a:endParaRPr lang="en-GB" dirty="0"/>
          </a:p>
        </p:txBody>
      </p:sp>
      <p:sp>
        <p:nvSpPr>
          <p:cNvPr id="7" name="Text Placeholder 9">
            <a:extLst>
              <a:ext uri="{FF2B5EF4-FFF2-40B4-BE49-F238E27FC236}">
                <a16:creationId xmlns:a16="http://schemas.microsoft.com/office/drawing/2014/main" id="{192D2533-5FB4-AD42-B121-FD71B68AF10D}"/>
              </a:ext>
            </a:extLst>
          </p:cNvPr>
          <p:cNvSpPr>
            <a:spLocks noGrp="1"/>
          </p:cNvSpPr>
          <p:nvPr>
            <p:ph type="body" sz="quarter" idx="11" hasCustomPrompt="1"/>
          </p:nvPr>
        </p:nvSpPr>
        <p:spPr>
          <a:xfrm>
            <a:off x="437766" y="4038153"/>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Tree>
    <p:extLst>
      <p:ext uri="{BB962C8B-B14F-4D97-AF65-F5344CB8AC3E}">
        <p14:creationId xmlns:p14="http://schemas.microsoft.com/office/powerpoint/2010/main" val="1254563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194243"/>
            <a:ext cx="8115300" cy="2834640"/>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dirty="0"/>
              <a:t>Click icon to add chart</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dirty="0"/>
              <a:t>Title Goes Here (28pt)</a:t>
            </a:r>
            <a:endParaRPr lang="en-GB" dirty="0"/>
          </a:p>
        </p:txBody>
      </p:sp>
      <p:sp>
        <p:nvSpPr>
          <p:cNvPr id="7" name="Text Placeholder 9">
            <a:extLst>
              <a:ext uri="{FF2B5EF4-FFF2-40B4-BE49-F238E27FC236}">
                <a16:creationId xmlns:a16="http://schemas.microsoft.com/office/drawing/2014/main" id="{72E1AAE4-B921-5B4D-A9EB-F575EB38B943}"/>
              </a:ext>
            </a:extLst>
          </p:cNvPr>
          <p:cNvSpPr>
            <a:spLocks noGrp="1"/>
          </p:cNvSpPr>
          <p:nvPr>
            <p:ph type="body" sz="quarter" idx="11" hasCustomPrompt="1"/>
          </p:nvPr>
        </p:nvSpPr>
        <p:spPr>
          <a:xfrm>
            <a:off x="437766" y="4038154"/>
            <a:ext cx="8210933" cy="326233"/>
          </a:xfrm>
          <a:prstGeom prst="rect">
            <a:avLst/>
          </a:prstGeom>
        </p:spPr>
        <p:txBody>
          <a:bodyPr wrap="square" lIns="91420" tIns="45710" rIns="91420" bIns="45710" anchor="t"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Source</a:t>
            </a:r>
          </a:p>
        </p:txBody>
      </p:sp>
    </p:spTree>
    <p:extLst>
      <p:ext uri="{BB962C8B-B14F-4D97-AF65-F5344CB8AC3E}">
        <p14:creationId xmlns:p14="http://schemas.microsoft.com/office/powerpoint/2010/main" val="23699458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Page Bullet + Image">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6" name="Title Placeholder 5"/>
          <p:cNvSpPr>
            <a:spLocks noGrp="1"/>
          </p:cNvSpPr>
          <p:nvPr>
            <p:ph type="title" hasCustomPrompt="1"/>
          </p:nvPr>
        </p:nvSpPr>
        <p:spPr bwMode="auto">
          <a:xfrm>
            <a:off x="437766"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US" dirty="0"/>
              <a:t>Title Here (28pt)  Limit Two Lines</a:t>
            </a:r>
            <a:endParaRPr lang="en-GB" dirty="0"/>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dirty="0"/>
              <a:t>Click icon to add picture</a:t>
            </a:r>
          </a:p>
        </p:txBody>
      </p:sp>
      <p:grpSp>
        <p:nvGrpSpPr>
          <p:cNvPr id="2" name="Group 1">
            <a:extLst>
              <a:ext uri="{FF2B5EF4-FFF2-40B4-BE49-F238E27FC236}">
                <a16:creationId xmlns:a16="http://schemas.microsoft.com/office/drawing/2014/main" id="{BC0590C9-C249-A149-B267-D2B7C7F46852}"/>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68DF1D2F-9299-BB46-B894-F37AD7F711E4}"/>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2041ECEB-AB79-374E-9772-8883AA85469B}"/>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18C819C5-8302-DC43-8E8E-2826AA2892D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D5482B27-5DB1-FE47-A0F6-3BDDFEB6290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40D89BE-4E04-0C4B-BB99-64A272A7E0F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E911CF-A02A-E94E-A149-E597C845D19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57E7A3C-CF89-7E40-BFDE-51B0E046E6B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09040E0C-5639-7141-8809-39C923A3333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a:t>
            </a:r>
          </a:p>
        </p:txBody>
      </p:sp>
      <p:sp>
        <p:nvSpPr>
          <p:cNvPr id="16" name="Text Placeholder 3">
            <a:extLst>
              <a:ext uri="{FF2B5EF4-FFF2-40B4-BE49-F238E27FC236}">
                <a16:creationId xmlns:a16="http://schemas.microsoft.com/office/drawing/2014/main" id="{35DFCE68-AC05-4B44-8313-C09DF7E1BF29}"/>
              </a:ext>
            </a:extLst>
          </p:cNvPr>
          <p:cNvSpPr>
            <a:spLocks noGrp="1"/>
          </p:cNvSpPr>
          <p:nvPr>
            <p:ph type="body" sz="quarter" idx="12" hasCustomPrompt="1"/>
          </p:nvPr>
        </p:nvSpPr>
        <p:spPr>
          <a:xfrm>
            <a:off x="437766" y="1665182"/>
            <a:ext cx="3662024" cy="2849668"/>
          </a:xfrm>
          <a:prstGeom prst="rect">
            <a:avLst/>
          </a:prstGeom>
        </p:spPr>
        <p:txBody>
          <a:bodyPr vert="horz" lIns="91440" tIns="45720" rIns="91440" bIns="45720" rtlCol="0" anchor="t">
            <a:noAutofit/>
          </a:bodyPr>
          <a:lstStyle>
            <a:lvl1pPr marL="228600" indent="-219456">
              <a:buClr>
                <a:schemeClr val="accent2"/>
              </a:buClr>
              <a:defRPr lang="en-GB" dirty="0">
                <a:solidFill>
                  <a:schemeClr val="bg2"/>
                </a:solidFill>
              </a:defRPr>
            </a:lvl1pPr>
            <a:lvl2pPr marL="448056" indent="-210312">
              <a:buClr>
                <a:schemeClr val="accent2"/>
              </a:buClr>
              <a:tabLst>
                <a:tab pos="171450" algn="l"/>
              </a:tabLst>
              <a:defRPr lang="en-GB" dirty="0">
                <a:solidFill>
                  <a:schemeClr val="bg2"/>
                </a:solidFill>
              </a:defRPr>
            </a:lvl2pPr>
            <a:lvl3pPr marL="621792" indent="-173736">
              <a:buClr>
                <a:schemeClr val="accent2"/>
              </a:buClr>
              <a:defRPr lang="en-GB" dirty="0">
                <a:solidFill>
                  <a:schemeClr val="bg2"/>
                </a:solidFill>
              </a:defRPr>
            </a:lvl3pPr>
            <a:lvl4pPr marL="804672" indent="-201168">
              <a:buClr>
                <a:schemeClr val="accent2"/>
              </a:buClr>
              <a:defRPr lang="en-GB" dirty="0">
                <a:solidFill>
                  <a:schemeClr val="bg2"/>
                </a:solidFill>
              </a:defRPr>
            </a:lvl4pPr>
            <a:lvl5pPr marL="969264" indent="-173736">
              <a:buClr>
                <a:schemeClr val="accent2"/>
              </a:buClr>
              <a:defRPr lang="en-US" dirty="0">
                <a:solidFill>
                  <a:schemeClr val="bg2"/>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grpSp>
        <p:nvGrpSpPr>
          <p:cNvPr id="21" name="Group 20">
            <a:extLst>
              <a:ext uri="{FF2B5EF4-FFF2-40B4-BE49-F238E27FC236}">
                <a16:creationId xmlns:a16="http://schemas.microsoft.com/office/drawing/2014/main" id="{745C1481-529D-F84B-83FD-647890EBFC7F}"/>
              </a:ext>
            </a:extLst>
          </p:cNvPr>
          <p:cNvGrpSpPr/>
          <p:nvPr userDrawn="1"/>
        </p:nvGrpSpPr>
        <p:grpSpPr>
          <a:xfrm>
            <a:off x="469642" y="391308"/>
            <a:ext cx="2033863" cy="422624"/>
            <a:chOff x="469642" y="391308"/>
            <a:chExt cx="2033863" cy="422624"/>
          </a:xfrm>
        </p:grpSpPr>
        <p:sp>
          <p:nvSpPr>
            <p:cNvPr id="25" name="Freeform 24">
              <a:extLst>
                <a:ext uri="{FF2B5EF4-FFF2-40B4-BE49-F238E27FC236}">
                  <a16:creationId xmlns:a16="http://schemas.microsoft.com/office/drawing/2014/main" id="{A7EE3810-C3AD-5F49-9FAC-B94F0A887E53}"/>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6" name="Freeform 6">
              <a:extLst>
                <a:ext uri="{FF2B5EF4-FFF2-40B4-BE49-F238E27FC236}">
                  <a16:creationId xmlns:a16="http://schemas.microsoft.com/office/drawing/2014/main" id="{E4C5F046-E632-CD4E-875B-2D0616FA89F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42123125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alf Page + Bulle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29235" y="1657350"/>
            <a:ext cx="3813048"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26" name="Group 25">
            <a:extLst>
              <a:ext uri="{FF2B5EF4-FFF2-40B4-BE49-F238E27FC236}">
                <a16:creationId xmlns:a16="http://schemas.microsoft.com/office/drawing/2014/main" id="{1DAD06F8-25F8-6546-8D9A-4825B919A45D}"/>
              </a:ext>
            </a:extLst>
          </p:cNvPr>
          <p:cNvGrpSpPr/>
          <p:nvPr userDrawn="1"/>
        </p:nvGrpSpPr>
        <p:grpSpPr>
          <a:xfrm>
            <a:off x="528763" y="4712481"/>
            <a:ext cx="921665" cy="191516"/>
            <a:chOff x="528763" y="4712481"/>
            <a:chExt cx="921665" cy="191516"/>
          </a:xfrm>
        </p:grpSpPr>
        <p:grpSp>
          <p:nvGrpSpPr>
            <p:cNvPr id="27" name="Graphic 2">
              <a:extLst>
                <a:ext uri="{FF2B5EF4-FFF2-40B4-BE49-F238E27FC236}">
                  <a16:creationId xmlns:a16="http://schemas.microsoft.com/office/drawing/2014/main" id="{47AB4B06-0838-2B4A-B203-3855C1A0DF48}"/>
                </a:ext>
              </a:extLst>
            </p:cNvPr>
            <p:cNvGrpSpPr/>
            <p:nvPr userDrawn="1"/>
          </p:nvGrpSpPr>
          <p:grpSpPr>
            <a:xfrm>
              <a:off x="943759" y="4781970"/>
              <a:ext cx="506669" cy="122027"/>
              <a:chOff x="4433187" y="1865375"/>
              <a:chExt cx="2298157" cy="553493"/>
            </a:xfrm>
            <a:solidFill>
              <a:schemeClr val="accent2"/>
            </a:solidFill>
          </p:grpSpPr>
          <p:sp>
            <p:nvSpPr>
              <p:cNvPr id="29" name="Freeform 28">
                <a:extLst>
                  <a:ext uri="{FF2B5EF4-FFF2-40B4-BE49-F238E27FC236}">
                    <a16:creationId xmlns:a16="http://schemas.microsoft.com/office/drawing/2014/main" id="{8476C063-CE51-274D-854C-2ABB9F9E34B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DED165DC-9D74-2942-82C6-7A6FBA4ACA0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1" name="Freeform 30">
                <a:extLst>
                  <a:ext uri="{FF2B5EF4-FFF2-40B4-BE49-F238E27FC236}">
                    <a16:creationId xmlns:a16="http://schemas.microsoft.com/office/drawing/2014/main" id="{543A35BE-1472-3940-A5F1-96184E30E9FF}"/>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2" name="Freeform 31">
                <a:extLst>
                  <a:ext uri="{FF2B5EF4-FFF2-40B4-BE49-F238E27FC236}">
                    <a16:creationId xmlns:a16="http://schemas.microsoft.com/office/drawing/2014/main" id="{F3CA5FC1-89F6-1146-BC3E-2B2459E882C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3" name="Freeform 32">
                <a:extLst>
                  <a:ext uri="{FF2B5EF4-FFF2-40B4-BE49-F238E27FC236}">
                    <a16:creationId xmlns:a16="http://schemas.microsoft.com/office/drawing/2014/main" id="{50E7D5D7-B573-CC41-B9B6-368DA785B63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4" name="Freeform 33">
                <a:extLst>
                  <a:ext uri="{FF2B5EF4-FFF2-40B4-BE49-F238E27FC236}">
                    <a16:creationId xmlns:a16="http://schemas.microsoft.com/office/drawing/2014/main" id="{165715DD-41EE-484A-A4B7-3839BE500003}"/>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8" name="Freeform 6">
              <a:extLst>
                <a:ext uri="{FF2B5EF4-FFF2-40B4-BE49-F238E27FC236}">
                  <a16:creationId xmlns:a16="http://schemas.microsoft.com/office/drawing/2014/main" id="{47F8CF69-9B67-B347-B50E-29918D40CEF2}"/>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15" name="Text Placeholder 3">
            <a:extLst>
              <a:ext uri="{FF2B5EF4-FFF2-40B4-BE49-F238E27FC236}">
                <a16:creationId xmlns:a16="http://schemas.microsoft.com/office/drawing/2014/main" id="{55BECF40-332B-7245-9C28-01DE7BED6BA3}"/>
              </a:ext>
            </a:extLst>
          </p:cNvPr>
          <p:cNvSpPr>
            <a:spLocks noGrp="1"/>
          </p:cNvSpPr>
          <p:nvPr>
            <p:ph type="body" sz="quarter" idx="12" hasCustomPrompt="1"/>
          </p:nvPr>
        </p:nvSpPr>
        <p:spPr>
          <a:xfrm>
            <a:off x="4993516" y="416820"/>
            <a:ext cx="3749040" cy="4206240"/>
          </a:xfrm>
          <a:prstGeom prst="rect">
            <a:avLst/>
          </a:prstGeom>
        </p:spPr>
        <p:txBody>
          <a:bodyPr vert="horz" lIns="91440" tIns="45720" rIns="91440" bIns="45720" rtlCol="0" anchor="ctr">
            <a:noAutofit/>
          </a:bodyPr>
          <a:lstStyle>
            <a:lvl1pPr marL="228600" indent="-219456">
              <a:buClr>
                <a:schemeClr val="accent2"/>
              </a:buClr>
              <a:defRPr lang="en-GB" dirty="0">
                <a:solidFill>
                  <a:schemeClr val="tx1"/>
                </a:solidFill>
              </a:defRPr>
            </a:lvl1pPr>
            <a:lvl2pPr marL="448056" indent="-210312">
              <a:buClr>
                <a:schemeClr val="accent2"/>
              </a:buClr>
              <a:tabLst>
                <a:tab pos="171450" algn="l"/>
              </a:tabLst>
              <a:defRPr lang="en-GB" dirty="0">
                <a:solidFill>
                  <a:schemeClr val="tx1"/>
                </a:solidFill>
              </a:defRPr>
            </a:lvl2pPr>
            <a:lvl3pPr marL="621792" indent="-173736">
              <a:buClr>
                <a:schemeClr val="accent2"/>
              </a:buClr>
              <a:defRPr lang="en-GB" dirty="0">
                <a:solidFill>
                  <a:schemeClr val="tx1"/>
                </a:solidFill>
              </a:defRPr>
            </a:lvl3pPr>
            <a:lvl4pPr marL="804672" indent="-201168">
              <a:buClr>
                <a:schemeClr val="accent2"/>
              </a:buClr>
              <a:defRPr lang="en-GB" dirty="0">
                <a:solidFill>
                  <a:schemeClr val="tx1"/>
                </a:solidFill>
              </a:defRPr>
            </a:lvl4pPr>
            <a:lvl5pPr marL="969264" indent="-173736">
              <a:buClr>
                <a:schemeClr val="accent2"/>
              </a:buClr>
              <a:defRPr lang="en-US" dirty="0">
                <a:solidFill>
                  <a:schemeClr val="tx1"/>
                </a:solidFill>
              </a:defRPr>
            </a:lvl5pPr>
          </a:lstStyle>
          <a:p>
            <a:pPr lvl="0"/>
            <a:r>
              <a:rPr lang="en-GB" dirty="0"/>
              <a:t>First level (use “Indent More” to format sub-bullet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7" name="Picture Placeholder 6"/>
          <p:cNvSpPr>
            <a:spLocks noGrp="1"/>
          </p:cNvSpPr>
          <p:nvPr>
            <p:ph type="pic" sz="quarter" idx="10"/>
          </p:nvPr>
        </p:nvSpPr>
        <p:spPr>
          <a:xfrm>
            <a:off x="5074920" y="498360"/>
            <a:ext cx="3566160" cy="3566160"/>
          </a:xfrm>
          <a:prstGeom prst="rect">
            <a:avLst/>
          </a:prstGeom>
        </p:spPr>
        <p:txBody>
          <a:bodyPr anchor="ctr" anchorCtr="0"/>
          <a:lstStyle>
            <a:lvl1pPr marL="0" indent="0" algn="ctr">
              <a:buNone/>
              <a:defRPr>
                <a:solidFill>
                  <a:schemeClr val="bg1">
                    <a:lumMod val="75000"/>
                  </a:schemeClr>
                </a:solidFill>
              </a:defRPr>
            </a:lvl1pPr>
          </a:lstStyle>
          <a:p>
            <a:r>
              <a:rPr lang="en-US" dirty="0"/>
              <a:t>Click icon to add picture</a:t>
            </a:r>
          </a:p>
        </p:txBody>
      </p:sp>
      <p:sp>
        <p:nvSpPr>
          <p:cNvPr id="9" name="Text Placeholder 8"/>
          <p:cNvSpPr>
            <a:spLocks noGrp="1"/>
          </p:cNvSpPr>
          <p:nvPr>
            <p:ph type="body" sz="quarter" idx="11" hasCustomPrompt="1"/>
          </p:nvPr>
        </p:nvSpPr>
        <p:spPr>
          <a:xfrm>
            <a:off x="5078413" y="4377076"/>
            <a:ext cx="3559175" cy="457200"/>
          </a:xfrm>
          <a:prstGeom prst="rect">
            <a:avLst/>
          </a:prstGeom>
        </p:spPr>
        <p:txBody>
          <a:bodyPr lIns="0" tIns="0" rIns="0" bIns="0"/>
          <a:lstStyle>
            <a:lvl1pPr marL="0" indent="0" algn="ctr">
              <a:buNone/>
              <a:defRPr sz="1400"/>
            </a:lvl1pPr>
          </a:lstStyle>
          <a:p>
            <a:pPr lvl="0"/>
            <a:r>
              <a:rPr lang="en-US" dirty="0"/>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21" name="Group 20">
            <a:extLst>
              <a:ext uri="{FF2B5EF4-FFF2-40B4-BE49-F238E27FC236}">
                <a16:creationId xmlns:a16="http://schemas.microsoft.com/office/drawing/2014/main" id="{DCBA97EC-DC87-8F43-8EAC-8682BB0AAC65}"/>
              </a:ext>
            </a:extLst>
          </p:cNvPr>
          <p:cNvGrpSpPr/>
          <p:nvPr userDrawn="1"/>
        </p:nvGrpSpPr>
        <p:grpSpPr>
          <a:xfrm>
            <a:off x="528763" y="4712481"/>
            <a:ext cx="921665" cy="191516"/>
            <a:chOff x="528763" y="4712481"/>
            <a:chExt cx="921665" cy="191516"/>
          </a:xfrm>
        </p:grpSpPr>
        <p:grpSp>
          <p:nvGrpSpPr>
            <p:cNvPr id="22" name="Graphic 2">
              <a:extLst>
                <a:ext uri="{FF2B5EF4-FFF2-40B4-BE49-F238E27FC236}">
                  <a16:creationId xmlns:a16="http://schemas.microsoft.com/office/drawing/2014/main" id="{0A868ED3-D8D2-5148-8602-57D85BD6C763}"/>
                </a:ext>
              </a:extLst>
            </p:cNvPr>
            <p:cNvGrpSpPr/>
            <p:nvPr userDrawn="1"/>
          </p:nvGrpSpPr>
          <p:grpSpPr>
            <a:xfrm>
              <a:off x="943759" y="4781970"/>
              <a:ext cx="506669" cy="122027"/>
              <a:chOff x="4433187" y="1865375"/>
              <a:chExt cx="2298157" cy="553493"/>
            </a:xfrm>
            <a:solidFill>
              <a:schemeClr val="accent2"/>
            </a:solidFill>
          </p:grpSpPr>
          <p:sp>
            <p:nvSpPr>
              <p:cNvPr id="24" name="Freeform 23">
                <a:extLst>
                  <a:ext uri="{FF2B5EF4-FFF2-40B4-BE49-F238E27FC236}">
                    <a16:creationId xmlns:a16="http://schemas.microsoft.com/office/drawing/2014/main" id="{42207790-DE20-024A-91A0-5CB16F2FCDF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4CD29DC9-C0A4-6E45-B41F-454464C332A9}"/>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B8D22142-4BAD-734E-B82B-3CA87EDCF153}"/>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53A38F9E-2717-5743-9AD4-A12C0F685AE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A519DDBC-35AB-414F-BFA3-9B6AA451638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94F96208-9366-1A4A-9D95-02B65A9226DB}"/>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3" name="Freeform 6">
              <a:extLst>
                <a:ext uri="{FF2B5EF4-FFF2-40B4-BE49-F238E27FC236}">
                  <a16:creationId xmlns:a16="http://schemas.microsoft.com/office/drawing/2014/main" id="{199B466D-BCF1-1B45-851B-5253D47BCA1B}"/>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6"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17" name="Group 16">
            <a:extLst>
              <a:ext uri="{FF2B5EF4-FFF2-40B4-BE49-F238E27FC236}">
                <a16:creationId xmlns:a16="http://schemas.microsoft.com/office/drawing/2014/main" id="{507F7347-F465-3C4B-BF6D-CDABE1E16978}"/>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33DA2E5D-B662-F044-8CCB-B3A36AA9D832}"/>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C4FD3886-99D7-5C49-8296-0E3B89BE6C0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12115675-CCB1-A541-B856-D08C84D58407}"/>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795C995-3418-064F-980D-EB8A6147F9E2}"/>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A6B01082-7C6C-EF4C-B97D-5DA222F1C68D}"/>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14C1779E-96ED-BD4E-ACAE-6AFF818F341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B4E986-3B04-4749-8B5B-5C8BE61A135C}"/>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7A57E6B4-EC5B-BC49-A2FC-E1358D2FC490}"/>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endParaRPr lang="en-US" dirty="0"/>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19" name="Group 18">
            <a:extLst>
              <a:ext uri="{FF2B5EF4-FFF2-40B4-BE49-F238E27FC236}">
                <a16:creationId xmlns:a16="http://schemas.microsoft.com/office/drawing/2014/main" id="{CE3004A4-BEFF-624C-AD44-0BC80F87CDD5}"/>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1C555E82-DEF0-5545-AA4C-194B39F76960}"/>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7E5E1398-4477-154B-BFA9-65D38AF68FD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E2FE2F0F-2535-AC4A-AE56-0FD6486EB62F}"/>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006715C-7CA3-A94E-A293-4091A665A111}"/>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F86F0BC-3CC7-E848-85D2-922F6D4B4C7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CFFC9762-B888-E04D-977A-1038FFDDCFA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7EC6E64B-0A56-2949-8811-57F0285505F2}"/>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ABAADAB7-B8AA-9A48-9ABF-8849D61C60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alf Page +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dirty="0"/>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19" name="Group 18">
            <a:extLst>
              <a:ext uri="{FF2B5EF4-FFF2-40B4-BE49-F238E27FC236}">
                <a16:creationId xmlns:a16="http://schemas.microsoft.com/office/drawing/2014/main" id="{C1166EBE-88FA-EB4E-B319-6D80EAE1EAD6}"/>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2A92F6DF-DB02-1944-A9E9-38FB8220E54C}"/>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881867B4-EC46-994B-800F-45749C25DB4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C6666E4-CCC5-C64F-A737-861EF5FBB6C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A7A82050-4629-6646-952D-AB22F1DD54F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EFBF3BB4-10A9-CE47-99BF-B4E61ACF4A2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2133A13-3E58-5443-BD8E-EE653827C87E}"/>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B727C51C-C1CD-8C45-A8F3-6512070CD05F}"/>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D2DD5BF5-0ADA-3D4C-B1EF-0E06A1C85621}"/>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 Page + 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dirty="0"/>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dirty="0"/>
              <a:t>Click icon to add table</a:t>
            </a:r>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1">
                    <a:alpha val="50000"/>
                  </a:schemeClr>
                </a:solidFill>
                <a:latin typeface="+mn-lt"/>
                <a:ea typeface="+mn-ea"/>
                <a:cs typeface="CiscoSans Thin"/>
              </a:rPr>
              <a:t>© 2020 Cisco and/or its affiliates. All rights reserved. </a:t>
            </a:r>
          </a:p>
        </p:txBody>
      </p:sp>
      <p:grpSp>
        <p:nvGrpSpPr>
          <p:cNvPr id="18" name="Group 17">
            <a:extLst>
              <a:ext uri="{FF2B5EF4-FFF2-40B4-BE49-F238E27FC236}">
                <a16:creationId xmlns:a16="http://schemas.microsoft.com/office/drawing/2014/main" id="{AA502BB4-D8B0-2E4E-892D-9EABB7FE0BD9}"/>
              </a:ext>
            </a:extLst>
          </p:cNvPr>
          <p:cNvGrpSpPr/>
          <p:nvPr userDrawn="1"/>
        </p:nvGrpSpPr>
        <p:grpSpPr>
          <a:xfrm>
            <a:off x="528763" y="4712481"/>
            <a:ext cx="921665" cy="191516"/>
            <a:chOff x="528763" y="4712481"/>
            <a:chExt cx="921665" cy="191516"/>
          </a:xfrm>
        </p:grpSpPr>
        <p:grpSp>
          <p:nvGrpSpPr>
            <p:cNvPr id="19" name="Graphic 2">
              <a:extLst>
                <a:ext uri="{FF2B5EF4-FFF2-40B4-BE49-F238E27FC236}">
                  <a16:creationId xmlns:a16="http://schemas.microsoft.com/office/drawing/2014/main" id="{33DDCFA9-7225-DC4A-9DC3-2DA31BF5BC21}"/>
                </a:ext>
              </a:extLst>
            </p:cNvPr>
            <p:cNvGrpSpPr/>
            <p:nvPr userDrawn="1"/>
          </p:nvGrpSpPr>
          <p:grpSpPr>
            <a:xfrm>
              <a:off x="943759" y="4781970"/>
              <a:ext cx="506669" cy="122027"/>
              <a:chOff x="4433187" y="1865375"/>
              <a:chExt cx="2298157" cy="553493"/>
            </a:xfrm>
            <a:solidFill>
              <a:schemeClr val="accent2"/>
            </a:solidFill>
          </p:grpSpPr>
          <p:sp>
            <p:nvSpPr>
              <p:cNvPr id="21" name="Freeform 20">
                <a:extLst>
                  <a:ext uri="{FF2B5EF4-FFF2-40B4-BE49-F238E27FC236}">
                    <a16:creationId xmlns:a16="http://schemas.microsoft.com/office/drawing/2014/main" id="{EB413082-537F-8145-A37F-82C03318DD6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4678165-065A-DC4F-ACBE-6C2714C4895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95B8E60-C316-3B48-A8AE-DAA3D5B481C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241A648D-1490-DD41-8489-3B1EACB076E1}"/>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5383BD0-093A-6949-A81E-9A67F18E1196}"/>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DD1755B-DD79-2B4A-BAF6-767182E7F3A6}"/>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0" name="Freeform 6">
              <a:extLst>
                <a:ext uri="{FF2B5EF4-FFF2-40B4-BE49-F238E27FC236}">
                  <a16:creationId xmlns:a16="http://schemas.microsoft.com/office/drawing/2014/main" id="{A6E71D06-856D-1D41-8E6F-15C356085B39}"/>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D897303-BE30-DC42-95FA-64D5924C10F1}"/>
              </a:ext>
            </a:extLst>
          </p:cNvPr>
          <p:cNvGrpSpPr/>
          <p:nvPr userDrawn="1"/>
        </p:nvGrpSpPr>
        <p:grpSpPr>
          <a:xfrm>
            <a:off x="2502974" y="2117165"/>
            <a:ext cx="4149590" cy="862260"/>
            <a:chOff x="2502974" y="2117165"/>
            <a:chExt cx="4149590" cy="862260"/>
          </a:xfrm>
        </p:grpSpPr>
        <p:sp>
          <p:nvSpPr>
            <p:cNvPr id="19" name="Freeform 18">
              <a:extLst>
                <a:ext uri="{FF2B5EF4-FFF2-40B4-BE49-F238E27FC236}">
                  <a16:creationId xmlns:a16="http://schemas.microsoft.com/office/drawing/2014/main" id="{A511DCAE-281D-024D-86AA-4CCFA95A96B8}"/>
                </a:ext>
              </a:extLst>
            </p:cNvPr>
            <p:cNvSpPr>
              <a:spLocks noChangeAspect="1"/>
            </p:cNvSpPr>
            <p:nvPr/>
          </p:nvSpPr>
          <p:spPr>
            <a:xfrm>
              <a:off x="4371401" y="2430025"/>
              <a:ext cx="2281163" cy="549400"/>
            </a:xfrm>
            <a:custGeom>
              <a:avLst/>
              <a:gdLst>
                <a:gd name="connsiteX0" fmla="*/ 2108951 w 2281163"/>
                <a:gd name="connsiteY0" fmla="*/ 179291 h 549400"/>
                <a:gd name="connsiteX1" fmla="*/ 2013850 w 2281163"/>
                <a:gd name="connsiteY1" fmla="*/ 221552 h 549400"/>
                <a:gd name="connsiteX2" fmla="*/ 1975295 w 2281163"/>
                <a:gd name="connsiteY2" fmla="*/ 324005 h 549400"/>
                <a:gd name="connsiteX3" fmla="*/ 2238753 w 2281163"/>
                <a:gd name="connsiteY3" fmla="*/ 324005 h 549400"/>
                <a:gd name="connsiteX4" fmla="*/ 2193772 w 2281163"/>
                <a:gd name="connsiteY4" fmla="*/ 210026 h 549400"/>
                <a:gd name="connsiteX5" fmla="*/ 2108951 w 2281163"/>
                <a:gd name="connsiteY5" fmla="*/ 179291 h 549400"/>
                <a:gd name="connsiteX6" fmla="*/ 651576 w 2281163"/>
                <a:gd name="connsiteY6" fmla="*/ 179291 h 549400"/>
                <a:gd name="connsiteX7" fmla="*/ 556475 w 2281163"/>
                <a:gd name="connsiteY7" fmla="*/ 221552 h 549400"/>
                <a:gd name="connsiteX8" fmla="*/ 517920 w 2281163"/>
                <a:gd name="connsiteY8" fmla="*/ 324005 h 549400"/>
                <a:gd name="connsiteX9" fmla="*/ 781378 w 2281163"/>
                <a:gd name="connsiteY9" fmla="*/ 324005 h 549400"/>
                <a:gd name="connsiteX10" fmla="*/ 736397 w 2281163"/>
                <a:gd name="connsiteY10" fmla="*/ 210026 h 549400"/>
                <a:gd name="connsiteX11" fmla="*/ 651576 w 2281163"/>
                <a:gd name="connsiteY11" fmla="*/ 179291 h 549400"/>
                <a:gd name="connsiteX12" fmla="*/ 1310865 w 2281163"/>
                <a:gd name="connsiteY12" fmla="*/ 157520 h 549400"/>
                <a:gd name="connsiteX13" fmla="*/ 1349420 w 2281163"/>
                <a:gd name="connsiteY13" fmla="*/ 157520 h 549400"/>
                <a:gd name="connsiteX14" fmla="*/ 1349420 w 2281163"/>
                <a:gd name="connsiteY14" fmla="*/ 414932 h 549400"/>
                <a:gd name="connsiteX15" fmla="*/ 1380264 w 2281163"/>
                <a:gd name="connsiteY15" fmla="*/ 493052 h 549400"/>
                <a:gd name="connsiteX16" fmla="*/ 1449662 w 2281163"/>
                <a:gd name="connsiteY16" fmla="*/ 514823 h 549400"/>
                <a:gd name="connsiteX17" fmla="*/ 1535768 w 2281163"/>
                <a:gd name="connsiteY17" fmla="*/ 475122 h 549400"/>
                <a:gd name="connsiteX18" fmla="*/ 1564042 w 2281163"/>
                <a:gd name="connsiteY18" fmla="*/ 390599 h 549400"/>
                <a:gd name="connsiteX19" fmla="*/ 1564042 w 2281163"/>
                <a:gd name="connsiteY19" fmla="*/ 157520 h 549400"/>
                <a:gd name="connsiteX20" fmla="*/ 1603882 w 2281163"/>
                <a:gd name="connsiteY20" fmla="*/ 157520 h 549400"/>
                <a:gd name="connsiteX21" fmla="*/ 1603882 w 2281163"/>
                <a:gd name="connsiteY21" fmla="*/ 537875 h 549400"/>
                <a:gd name="connsiteX22" fmla="*/ 1571752 w 2281163"/>
                <a:gd name="connsiteY22" fmla="*/ 537875 h 549400"/>
                <a:gd name="connsiteX23" fmla="*/ 1566611 w 2281163"/>
                <a:gd name="connsiteY23" fmla="*/ 477683 h 549400"/>
                <a:gd name="connsiteX24" fmla="*/ 1507494 w 2281163"/>
                <a:gd name="connsiteY24" fmla="*/ 534033 h 549400"/>
                <a:gd name="connsiteX25" fmla="*/ 1441951 w 2281163"/>
                <a:gd name="connsiteY25" fmla="*/ 549400 h 549400"/>
                <a:gd name="connsiteX26" fmla="*/ 1344279 w 2281163"/>
                <a:gd name="connsiteY26" fmla="*/ 510981 h 549400"/>
                <a:gd name="connsiteX27" fmla="*/ 1310865 w 2281163"/>
                <a:gd name="connsiteY27" fmla="*/ 414932 h 549400"/>
                <a:gd name="connsiteX28" fmla="*/ 2108951 w 2281163"/>
                <a:gd name="connsiteY28" fmla="*/ 148555 h 549400"/>
                <a:gd name="connsiteX29" fmla="*/ 2237468 w 2281163"/>
                <a:gd name="connsiteY29" fmla="*/ 207465 h 549400"/>
                <a:gd name="connsiteX30" fmla="*/ 2281163 w 2281163"/>
                <a:gd name="connsiteY30" fmla="*/ 359863 h 549400"/>
                <a:gd name="connsiteX31" fmla="*/ 1975295 w 2281163"/>
                <a:gd name="connsiteY31" fmla="*/ 359863 h 549400"/>
                <a:gd name="connsiteX32" fmla="*/ 2024131 w 2281163"/>
                <a:gd name="connsiteY32" fmla="*/ 484087 h 549400"/>
                <a:gd name="connsiteX33" fmla="*/ 2116663 w 2281163"/>
                <a:gd name="connsiteY33" fmla="*/ 517384 h 549400"/>
                <a:gd name="connsiteX34" fmla="*/ 2193772 w 2281163"/>
                <a:gd name="connsiteY34" fmla="*/ 493051 h 549400"/>
                <a:gd name="connsiteX35" fmla="*/ 2232327 w 2281163"/>
                <a:gd name="connsiteY35" fmla="*/ 434141 h 549400"/>
                <a:gd name="connsiteX36" fmla="*/ 2273453 w 2281163"/>
                <a:gd name="connsiteY36" fmla="*/ 434141 h 549400"/>
                <a:gd name="connsiteX37" fmla="*/ 2213050 w 2281163"/>
                <a:gd name="connsiteY37" fmla="*/ 521225 h 549400"/>
                <a:gd name="connsiteX38" fmla="*/ 2115378 w 2281163"/>
                <a:gd name="connsiteY38" fmla="*/ 549400 h 549400"/>
                <a:gd name="connsiteX39" fmla="*/ 1980436 w 2281163"/>
                <a:gd name="connsiteY39" fmla="*/ 490490 h 549400"/>
                <a:gd name="connsiteX40" fmla="*/ 1935455 w 2281163"/>
                <a:gd name="connsiteY40" fmla="*/ 348337 h 549400"/>
                <a:gd name="connsiteX41" fmla="*/ 1992002 w 2281163"/>
                <a:gd name="connsiteY41" fmla="*/ 193378 h 549400"/>
                <a:gd name="connsiteX42" fmla="*/ 2108951 w 2281163"/>
                <a:gd name="connsiteY42" fmla="*/ 148555 h 549400"/>
                <a:gd name="connsiteX43" fmla="*/ 1065399 w 2281163"/>
                <a:gd name="connsiteY43" fmla="*/ 148555 h 549400"/>
                <a:gd name="connsiteX44" fmla="*/ 1173353 w 2281163"/>
                <a:gd name="connsiteY44" fmla="*/ 184413 h 549400"/>
                <a:gd name="connsiteX45" fmla="*/ 1219619 w 2281163"/>
                <a:gd name="connsiteY45" fmla="*/ 265095 h 549400"/>
                <a:gd name="connsiteX46" fmla="*/ 1175923 w 2281163"/>
                <a:gd name="connsiteY46" fmla="*/ 265095 h 549400"/>
                <a:gd name="connsiteX47" fmla="*/ 1134798 w 2281163"/>
                <a:gd name="connsiteY47" fmla="*/ 201062 h 549400"/>
                <a:gd name="connsiteX48" fmla="*/ 1065399 w 2281163"/>
                <a:gd name="connsiteY48" fmla="*/ 181852 h 549400"/>
                <a:gd name="connsiteX49" fmla="*/ 967727 w 2281163"/>
                <a:gd name="connsiteY49" fmla="*/ 230517 h 549400"/>
                <a:gd name="connsiteX50" fmla="*/ 934313 w 2281163"/>
                <a:gd name="connsiteY50" fmla="*/ 354740 h 549400"/>
                <a:gd name="connsiteX51" fmla="*/ 978008 w 2281163"/>
                <a:gd name="connsiteY51" fmla="*/ 482806 h 549400"/>
                <a:gd name="connsiteX52" fmla="*/ 1064114 w 2281163"/>
                <a:gd name="connsiteY52" fmla="*/ 517384 h 549400"/>
                <a:gd name="connsiteX53" fmla="*/ 1143794 w 2281163"/>
                <a:gd name="connsiteY53" fmla="*/ 489210 h 549400"/>
                <a:gd name="connsiteX54" fmla="*/ 1181064 w 2281163"/>
                <a:gd name="connsiteY54" fmla="*/ 426457 h 549400"/>
                <a:gd name="connsiteX55" fmla="*/ 1222189 w 2281163"/>
                <a:gd name="connsiteY55" fmla="*/ 426457 h 549400"/>
                <a:gd name="connsiteX56" fmla="*/ 1165642 w 2281163"/>
                <a:gd name="connsiteY56" fmla="*/ 518664 h 549400"/>
                <a:gd name="connsiteX57" fmla="*/ 1065399 w 2281163"/>
                <a:gd name="connsiteY57" fmla="*/ 549400 h 549400"/>
                <a:gd name="connsiteX58" fmla="*/ 939453 w 2281163"/>
                <a:gd name="connsiteY58" fmla="*/ 491770 h 549400"/>
                <a:gd name="connsiteX59" fmla="*/ 895758 w 2281163"/>
                <a:gd name="connsiteY59" fmla="*/ 352179 h 549400"/>
                <a:gd name="connsiteX60" fmla="*/ 951020 w 2281163"/>
                <a:gd name="connsiteY60" fmla="*/ 193378 h 549400"/>
                <a:gd name="connsiteX61" fmla="*/ 1065399 w 2281163"/>
                <a:gd name="connsiteY61" fmla="*/ 148555 h 549400"/>
                <a:gd name="connsiteX62" fmla="*/ 651576 w 2281163"/>
                <a:gd name="connsiteY62" fmla="*/ 148555 h 549400"/>
                <a:gd name="connsiteX63" fmla="*/ 780092 w 2281163"/>
                <a:gd name="connsiteY63" fmla="*/ 207465 h 549400"/>
                <a:gd name="connsiteX64" fmla="*/ 823788 w 2281163"/>
                <a:gd name="connsiteY64" fmla="*/ 359863 h 549400"/>
                <a:gd name="connsiteX65" fmla="*/ 517920 w 2281163"/>
                <a:gd name="connsiteY65" fmla="*/ 359863 h 549400"/>
                <a:gd name="connsiteX66" fmla="*/ 566756 w 2281163"/>
                <a:gd name="connsiteY66" fmla="*/ 484087 h 549400"/>
                <a:gd name="connsiteX67" fmla="*/ 659288 w 2281163"/>
                <a:gd name="connsiteY67" fmla="*/ 517384 h 549400"/>
                <a:gd name="connsiteX68" fmla="*/ 736397 w 2281163"/>
                <a:gd name="connsiteY68" fmla="*/ 493051 h 549400"/>
                <a:gd name="connsiteX69" fmla="*/ 774952 w 2281163"/>
                <a:gd name="connsiteY69" fmla="*/ 434141 h 549400"/>
                <a:gd name="connsiteX70" fmla="*/ 816077 w 2281163"/>
                <a:gd name="connsiteY70" fmla="*/ 434141 h 549400"/>
                <a:gd name="connsiteX71" fmla="*/ 755674 w 2281163"/>
                <a:gd name="connsiteY71" fmla="*/ 521225 h 549400"/>
                <a:gd name="connsiteX72" fmla="*/ 658002 w 2281163"/>
                <a:gd name="connsiteY72" fmla="*/ 549400 h 549400"/>
                <a:gd name="connsiteX73" fmla="*/ 523061 w 2281163"/>
                <a:gd name="connsiteY73" fmla="*/ 490490 h 549400"/>
                <a:gd name="connsiteX74" fmla="*/ 478080 w 2281163"/>
                <a:gd name="connsiteY74" fmla="*/ 348337 h 549400"/>
                <a:gd name="connsiteX75" fmla="*/ 534626 w 2281163"/>
                <a:gd name="connsiteY75" fmla="*/ 193378 h 549400"/>
                <a:gd name="connsiteX76" fmla="*/ 651576 w 2281163"/>
                <a:gd name="connsiteY76" fmla="*/ 148555 h 549400"/>
                <a:gd name="connsiteX77" fmla="*/ 1859629 w 2281163"/>
                <a:gd name="connsiteY77" fmla="*/ 145994 h 549400"/>
                <a:gd name="connsiteX78" fmla="*/ 1899469 w 2281163"/>
                <a:gd name="connsiteY78" fmla="*/ 152397 h 549400"/>
                <a:gd name="connsiteX79" fmla="*/ 1899469 w 2281163"/>
                <a:gd name="connsiteY79" fmla="*/ 190817 h 549400"/>
                <a:gd name="connsiteX80" fmla="*/ 1858343 w 2281163"/>
                <a:gd name="connsiteY80" fmla="*/ 184414 h 549400"/>
                <a:gd name="connsiteX81" fmla="*/ 1782519 w 2281163"/>
                <a:gd name="connsiteY81" fmla="*/ 227956 h 549400"/>
                <a:gd name="connsiteX82" fmla="*/ 1755531 w 2281163"/>
                <a:gd name="connsiteY82" fmla="*/ 329128 h 549400"/>
                <a:gd name="connsiteX83" fmla="*/ 1755531 w 2281163"/>
                <a:gd name="connsiteY83" fmla="*/ 537874 h 549400"/>
                <a:gd name="connsiteX84" fmla="*/ 1754246 w 2281163"/>
                <a:gd name="connsiteY84" fmla="*/ 537874 h 549400"/>
                <a:gd name="connsiteX85" fmla="*/ 1714406 w 2281163"/>
                <a:gd name="connsiteY85" fmla="*/ 537874 h 549400"/>
                <a:gd name="connsiteX86" fmla="*/ 1714406 w 2281163"/>
                <a:gd name="connsiteY86" fmla="*/ 157520 h 549400"/>
                <a:gd name="connsiteX87" fmla="*/ 1746534 w 2281163"/>
                <a:gd name="connsiteY87" fmla="*/ 157520 h 549400"/>
                <a:gd name="connsiteX88" fmla="*/ 1752960 w 2281163"/>
                <a:gd name="connsiteY88" fmla="*/ 230518 h 549400"/>
                <a:gd name="connsiteX89" fmla="*/ 1859629 w 2281163"/>
                <a:gd name="connsiteY89" fmla="*/ 145994 h 549400"/>
                <a:gd name="connsiteX90" fmla="*/ 204340 w 2281163"/>
                <a:gd name="connsiteY90" fmla="*/ 0 h 549400"/>
                <a:gd name="connsiteX91" fmla="*/ 343138 w 2281163"/>
                <a:gd name="connsiteY91" fmla="*/ 39700 h 549400"/>
                <a:gd name="connsiteX92" fmla="*/ 402256 w 2281163"/>
                <a:gd name="connsiteY92" fmla="*/ 131907 h 549400"/>
                <a:gd name="connsiteX93" fmla="*/ 359845 w 2281163"/>
                <a:gd name="connsiteY93" fmla="*/ 131907 h 549400"/>
                <a:gd name="connsiteX94" fmla="*/ 303298 w 2281163"/>
                <a:gd name="connsiteY94" fmla="*/ 57630 h 549400"/>
                <a:gd name="connsiteX95" fmla="*/ 204340 w 2281163"/>
                <a:gd name="connsiteY95" fmla="*/ 34577 h 549400"/>
                <a:gd name="connsiteX96" fmla="*/ 93817 w 2281163"/>
                <a:gd name="connsiteY96" fmla="*/ 64033 h 549400"/>
                <a:gd name="connsiteX97" fmla="*/ 64258 w 2281163"/>
                <a:gd name="connsiteY97" fmla="*/ 126784 h 549400"/>
                <a:gd name="connsiteX98" fmla="*/ 97672 w 2281163"/>
                <a:gd name="connsiteY98" fmla="*/ 198501 h 549400"/>
                <a:gd name="connsiteX99" fmla="*/ 213336 w 2281163"/>
                <a:gd name="connsiteY99" fmla="*/ 240762 h 549400"/>
                <a:gd name="connsiteX100" fmla="*/ 366271 w 2281163"/>
                <a:gd name="connsiteY100" fmla="*/ 307356 h 549400"/>
                <a:gd name="connsiteX101" fmla="*/ 402256 w 2281163"/>
                <a:gd name="connsiteY101" fmla="*/ 400845 h 549400"/>
                <a:gd name="connsiteX102" fmla="*/ 344423 w 2281163"/>
                <a:gd name="connsiteY102" fmla="*/ 509700 h 549400"/>
                <a:gd name="connsiteX103" fmla="*/ 205626 w 2281163"/>
                <a:gd name="connsiteY103" fmla="*/ 546839 h 549400"/>
                <a:gd name="connsiteX104" fmla="*/ 61687 w 2281163"/>
                <a:gd name="connsiteY104" fmla="*/ 503297 h 549400"/>
                <a:gd name="connsiteX105" fmla="*/ 0 w 2281163"/>
                <a:gd name="connsiteY105" fmla="*/ 400845 h 549400"/>
                <a:gd name="connsiteX106" fmla="*/ 43695 w 2281163"/>
                <a:gd name="connsiteY106" fmla="*/ 400845 h 549400"/>
                <a:gd name="connsiteX107" fmla="*/ 104098 w 2281163"/>
                <a:gd name="connsiteY107" fmla="*/ 486649 h 549400"/>
                <a:gd name="connsiteX108" fmla="*/ 205626 w 2281163"/>
                <a:gd name="connsiteY108" fmla="*/ 510980 h 549400"/>
                <a:gd name="connsiteX109" fmla="*/ 325145 w 2281163"/>
                <a:gd name="connsiteY109" fmla="*/ 476403 h 549400"/>
                <a:gd name="connsiteX110" fmla="*/ 362416 w 2281163"/>
                <a:gd name="connsiteY110" fmla="*/ 403406 h 549400"/>
                <a:gd name="connsiteX111" fmla="*/ 322575 w 2281163"/>
                <a:gd name="connsiteY111" fmla="*/ 322725 h 549400"/>
                <a:gd name="connsiteX112" fmla="*/ 186348 w 2281163"/>
                <a:gd name="connsiteY112" fmla="*/ 274059 h 549400"/>
                <a:gd name="connsiteX113" fmla="*/ 55262 w 2281163"/>
                <a:gd name="connsiteY113" fmla="*/ 215150 h 549400"/>
                <a:gd name="connsiteX114" fmla="*/ 23132 w 2281163"/>
                <a:gd name="connsiteY114" fmla="*/ 129346 h 549400"/>
                <a:gd name="connsiteX115" fmla="*/ 75824 w 2281163"/>
                <a:gd name="connsiteY115" fmla="*/ 32016 h 549400"/>
                <a:gd name="connsiteX116" fmla="*/ 204340 w 2281163"/>
                <a:gd name="connsiteY116" fmla="*/ 0 h 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281163" h="549400">
                  <a:moveTo>
                    <a:pt x="2108951" y="179291"/>
                  </a:moveTo>
                  <a:cubicBezTo>
                    <a:pt x="2070397" y="179291"/>
                    <a:pt x="2038268" y="193378"/>
                    <a:pt x="2013850" y="221552"/>
                  </a:cubicBezTo>
                  <a:cubicBezTo>
                    <a:pt x="1992002" y="247166"/>
                    <a:pt x="1979151" y="281743"/>
                    <a:pt x="1975295" y="324005"/>
                  </a:cubicBezTo>
                  <a:lnTo>
                    <a:pt x="2238753" y="324005"/>
                  </a:lnTo>
                  <a:cubicBezTo>
                    <a:pt x="2236182" y="274059"/>
                    <a:pt x="2220761" y="235639"/>
                    <a:pt x="2193772" y="210026"/>
                  </a:cubicBezTo>
                  <a:cubicBezTo>
                    <a:pt x="2171924" y="189536"/>
                    <a:pt x="2143651" y="179291"/>
                    <a:pt x="2108951" y="179291"/>
                  </a:cubicBezTo>
                  <a:close/>
                  <a:moveTo>
                    <a:pt x="651576" y="179291"/>
                  </a:moveTo>
                  <a:cubicBezTo>
                    <a:pt x="613021" y="179291"/>
                    <a:pt x="580893" y="193378"/>
                    <a:pt x="556475" y="221552"/>
                  </a:cubicBezTo>
                  <a:cubicBezTo>
                    <a:pt x="534626" y="247166"/>
                    <a:pt x="521775" y="281743"/>
                    <a:pt x="517920" y="324005"/>
                  </a:cubicBezTo>
                  <a:lnTo>
                    <a:pt x="781378" y="324005"/>
                  </a:lnTo>
                  <a:cubicBezTo>
                    <a:pt x="778807" y="274059"/>
                    <a:pt x="763386" y="235639"/>
                    <a:pt x="736397" y="210026"/>
                  </a:cubicBezTo>
                  <a:cubicBezTo>
                    <a:pt x="714550" y="189536"/>
                    <a:pt x="684991" y="179291"/>
                    <a:pt x="651576" y="179291"/>
                  </a:cubicBezTo>
                  <a:close/>
                  <a:moveTo>
                    <a:pt x="1310865" y="157520"/>
                  </a:moveTo>
                  <a:lnTo>
                    <a:pt x="1349420" y="157520"/>
                  </a:lnTo>
                  <a:lnTo>
                    <a:pt x="1349420" y="414932"/>
                  </a:lnTo>
                  <a:cubicBezTo>
                    <a:pt x="1349420" y="449509"/>
                    <a:pt x="1359701" y="476403"/>
                    <a:pt x="1380264" y="493052"/>
                  </a:cubicBezTo>
                  <a:cubicBezTo>
                    <a:pt x="1396971" y="507139"/>
                    <a:pt x="1420103" y="514823"/>
                    <a:pt x="1449662" y="514823"/>
                  </a:cubicBezTo>
                  <a:cubicBezTo>
                    <a:pt x="1484361" y="514823"/>
                    <a:pt x="1513920" y="502016"/>
                    <a:pt x="1535768" y="475122"/>
                  </a:cubicBezTo>
                  <a:cubicBezTo>
                    <a:pt x="1553760" y="452071"/>
                    <a:pt x="1564042" y="423896"/>
                    <a:pt x="1564042" y="390599"/>
                  </a:cubicBezTo>
                  <a:lnTo>
                    <a:pt x="1564042" y="157520"/>
                  </a:lnTo>
                  <a:lnTo>
                    <a:pt x="1603882" y="157520"/>
                  </a:lnTo>
                  <a:lnTo>
                    <a:pt x="1603882" y="537875"/>
                  </a:lnTo>
                  <a:lnTo>
                    <a:pt x="1571752" y="537875"/>
                  </a:lnTo>
                  <a:lnTo>
                    <a:pt x="1566611" y="477683"/>
                  </a:lnTo>
                  <a:cubicBezTo>
                    <a:pt x="1552475" y="502016"/>
                    <a:pt x="1533197" y="521226"/>
                    <a:pt x="1507494" y="534033"/>
                  </a:cubicBezTo>
                  <a:cubicBezTo>
                    <a:pt x="1486932" y="544278"/>
                    <a:pt x="1465084" y="549400"/>
                    <a:pt x="1441951" y="549400"/>
                  </a:cubicBezTo>
                  <a:cubicBezTo>
                    <a:pt x="1399541" y="549400"/>
                    <a:pt x="1367412" y="536594"/>
                    <a:pt x="1344279" y="510981"/>
                  </a:cubicBezTo>
                  <a:cubicBezTo>
                    <a:pt x="1322431" y="487929"/>
                    <a:pt x="1310865" y="455913"/>
                    <a:pt x="1310865" y="414932"/>
                  </a:cubicBezTo>
                  <a:close/>
                  <a:moveTo>
                    <a:pt x="2108951" y="148555"/>
                  </a:moveTo>
                  <a:cubicBezTo>
                    <a:pt x="2164214" y="148555"/>
                    <a:pt x="2206624" y="167765"/>
                    <a:pt x="2237468" y="207465"/>
                  </a:cubicBezTo>
                  <a:cubicBezTo>
                    <a:pt x="2265741" y="243323"/>
                    <a:pt x="2281163" y="294550"/>
                    <a:pt x="2281163" y="359863"/>
                  </a:cubicBezTo>
                  <a:lnTo>
                    <a:pt x="1975295" y="359863"/>
                  </a:lnTo>
                  <a:cubicBezTo>
                    <a:pt x="1977865" y="414931"/>
                    <a:pt x="1993287" y="455912"/>
                    <a:pt x="2024131" y="484087"/>
                  </a:cubicBezTo>
                  <a:cubicBezTo>
                    <a:pt x="2048550" y="505857"/>
                    <a:pt x="2080678" y="517384"/>
                    <a:pt x="2116663" y="517384"/>
                  </a:cubicBezTo>
                  <a:cubicBezTo>
                    <a:pt x="2147507" y="517384"/>
                    <a:pt x="2173210" y="509700"/>
                    <a:pt x="2193772" y="493051"/>
                  </a:cubicBezTo>
                  <a:cubicBezTo>
                    <a:pt x="2213050" y="476403"/>
                    <a:pt x="2225901" y="457193"/>
                    <a:pt x="2232327" y="434141"/>
                  </a:cubicBezTo>
                  <a:lnTo>
                    <a:pt x="2273453" y="434141"/>
                  </a:lnTo>
                  <a:cubicBezTo>
                    <a:pt x="2263171" y="471280"/>
                    <a:pt x="2243894" y="500735"/>
                    <a:pt x="2213050" y="521225"/>
                  </a:cubicBezTo>
                  <a:cubicBezTo>
                    <a:pt x="2186062" y="539154"/>
                    <a:pt x="2152647" y="549400"/>
                    <a:pt x="2115378" y="549400"/>
                  </a:cubicBezTo>
                  <a:cubicBezTo>
                    <a:pt x="2058831" y="549400"/>
                    <a:pt x="2012565" y="530190"/>
                    <a:pt x="1980436" y="490490"/>
                  </a:cubicBezTo>
                  <a:cubicBezTo>
                    <a:pt x="1949592" y="454631"/>
                    <a:pt x="1935455" y="407247"/>
                    <a:pt x="1935455" y="348337"/>
                  </a:cubicBezTo>
                  <a:cubicBezTo>
                    <a:pt x="1935455" y="281743"/>
                    <a:pt x="1954733" y="229236"/>
                    <a:pt x="1992002" y="193378"/>
                  </a:cubicBezTo>
                  <a:cubicBezTo>
                    <a:pt x="2022846" y="162642"/>
                    <a:pt x="2061401" y="148555"/>
                    <a:pt x="2108951" y="148555"/>
                  </a:cubicBezTo>
                  <a:close/>
                  <a:moveTo>
                    <a:pt x="1065399" y="148555"/>
                  </a:moveTo>
                  <a:cubicBezTo>
                    <a:pt x="1109094" y="148555"/>
                    <a:pt x="1145079" y="160081"/>
                    <a:pt x="1173353" y="184413"/>
                  </a:cubicBezTo>
                  <a:cubicBezTo>
                    <a:pt x="1197771" y="204904"/>
                    <a:pt x="1213193" y="231798"/>
                    <a:pt x="1219619" y="265095"/>
                  </a:cubicBezTo>
                  <a:lnTo>
                    <a:pt x="1175923" y="265095"/>
                  </a:lnTo>
                  <a:cubicBezTo>
                    <a:pt x="1170783" y="238201"/>
                    <a:pt x="1157931" y="216430"/>
                    <a:pt x="1134798" y="201062"/>
                  </a:cubicBezTo>
                  <a:cubicBezTo>
                    <a:pt x="1115520" y="188255"/>
                    <a:pt x="1092388" y="181852"/>
                    <a:pt x="1065399" y="181852"/>
                  </a:cubicBezTo>
                  <a:cubicBezTo>
                    <a:pt x="1024274" y="181852"/>
                    <a:pt x="990860" y="198501"/>
                    <a:pt x="967727" y="230517"/>
                  </a:cubicBezTo>
                  <a:cubicBezTo>
                    <a:pt x="945879" y="261253"/>
                    <a:pt x="934313" y="302233"/>
                    <a:pt x="934313" y="354740"/>
                  </a:cubicBezTo>
                  <a:cubicBezTo>
                    <a:pt x="934313" y="411089"/>
                    <a:pt x="948449" y="454631"/>
                    <a:pt x="978008" y="482806"/>
                  </a:cubicBezTo>
                  <a:cubicBezTo>
                    <a:pt x="1001141" y="505857"/>
                    <a:pt x="1029415" y="517384"/>
                    <a:pt x="1064114" y="517384"/>
                  </a:cubicBezTo>
                  <a:cubicBezTo>
                    <a:pt x="1096243" y="517384"/>
                    <a:pt x="1121947" y="508418"/>
                    <a:pt x="1143794" y="489210"/>
                  </a:cubicBezTo>
                  <a:cubicBezTo>
                    <a:pt x="1165642" y="471280"/>
                    <a:pt x="1177208" y="450790"/>
                    <a:pt x="1181064" y="426457"/>
                  </a:cubicBezTo>
                  <a:lnTo>
                    <a:pt x="1222189" y="426457"/>
                  </a:lnTo>
                  <a:cubicBezTo>
                    <a:pt x="1215763" y="464877"/>
                    <a:pt x="1196485" y="495612"/>
                    <a:pt x="1165642" y="518664"/>
                  </a:cubicBezTo>
                  <a:cubicBezTo>
                    <a:pt x="1137368" y="539154"/>
                    <a:pt x="1103954" y="549400"/>
                    <a:pt x="1065399" y="549400"/>
                  </a:cubicBezTo>
                  <a:cubicBezTo>
                    <a:pt x="1012707" y="549400"/>
                    <a:pt x="970297" y="530190"/>
                    <a:pt x="939453" y="491770"/>
                  </a:cubicBezTo>
                  <a:cubicBezTo>
                    <a:pt x="911180" y="457193"/>
                    <a:pt x="895758" y="409809"/>
                    <a:pt x="895758" y="352179"/>
                  </a:cubicBezTo>
                  <a:cubicBezTo>
                    <a:pt x="895758" y="283023"/>
                    <a:pt x="913750" y="230517"/>
                    <a:pt x="951020" y="193378"/>
                  </a:cubicBezTo>
                  <a:cubicBezTo>
                    <a:pt x="981863" y="163923"/>
                    <a:pt x="1019134" y="148555"/>
                    <a:pt x="1065399" y="148555"/>
                  </a:cubicBezTo>
                  <a:close/>
                  <a:moveTo>
                    <a:pt x="651576" y="148555"/>
                  </a:moveTo>
                  <a:cubicBezTo>
                    <a:pt x="706838" y="148555"/>
                    <a:pt x="749248" y="167765"/>
                    <a:pt x="780092" y="207465"/>
                  </a:cubicBezTo>
                  <a:cubicBezTo>
                    <a:pt x="808366" y="243323"/>
                    <a:pt x="823788" y="294550"/>
                    <a:pt x="823788" y="359863"/>
                  </a:cubicBezTo>
                  <a:lnTo>
                    <a:pt x="517920" y="359863"/>
                  </a:lnTo>
                  <a:cubicBezTo>
                    <a:pt x="520490" y="414931"/>
                    <a:pt x="535912" y="455912"/>
                    <a:pt x="566756" y="484087"/>
                  </a:cubicBezTo>
                  <a:cubicBezTo>
                    <a:pt x="591174" y="505857"/>
                    <a:pt x="623303" y="517384"/>
                    <a:pt x="659288" y="517384"/>
                  </a:cubicBezTo>
                  <a:cubicBezTo>
                    <a:pt x="690132" y="517384"/>
                    <a:pt x="715834" y="509700"/>
                    <a:pt x="736397" y="493051"/>
                  </a:cubicBezTo>
                  <a:cubicBezTo>
                    <a:pt x="755674" y="476403"/>
                    <a:pt x="768527" y="457193"/>
                    <a:pt x="774952" y="434141"/>
                  </a:cubicBezTo>
                  <a:lnTo>
                    <a:pt x="816077" y="434141"/>
                  </a:lnTo>
                  <a:cubicBezTo>
                    <a:pt x="805796" y="471280"/>
                    <a:pt x="786518" y="500735"/>
                    <a:pt x="755674" y="521225"/>
                  </a:cubicBezTo>
                  <a:cubicBezTo>
                    <a:pt x="728686" y="539154"/>
                    <a:pt x="695272" y="549400"/>
                    <a:pt x="658002" y="549400"/>
                  </a:cubicBezTo>
                  <a:cubicBezTo>
                    <a:pt x="601455" y="549400"/>
                    <a:pt x="555189" y="530190"/>
                    <a:pt x="523061" y="490490"/>
                  </a:cubicBezTo>
                  <a:cubicBezTo>
                    <a:pt x="492216" y="454631"/>
                    <a:pt x="478080" y="407247"/>
                    <a:pt x="478080" y="348337"/>
                  </a:cubicBezTo>
                  <a:cubicBezTo>
                    <a:pt x="478080" y="281743"/>
                    <a:pt x="497357" y="229236"/>
                    <a:pt x="534626" y="193378"/>
                  </a:cubicBezTo>
                  <a:cubicBezTo>
                    <a:pt x="565471" y="162642"/>
                    <a:pt x="604025" y="148555"/>
                    <a:pt x="651576" y="148555"/>
                  </a:cubicBezTo>
                  <a:close/>
                  <a:moveTo>
                    <a:pt x="1859629" y="145994"/>
                  </a:moveTo>
                  <a:cubicBezTo>
                    <a:pt x="1873765" y="145994"/>
                    <a:pt x="1887902" y="148555"/>
                    <a:pt x="1899469" y="152397"/>
                  </a:cubicBezTo>
                  <a:lnTo>
                    <a:pt x="1899469" y="190817"/>
                  </a:lnTo>
                  <a:cubicBezTo>
                    <a:pt x="1884047" y="186975"/>
                    <a:pt x="1869910" y="184414"/>
                    <a:pt x="1858343" y="184414"/>
                  </a:cubicBezTo>
                  <a:cubicBezTo>
                    <a:pt x="1827500" y="184414"/>
                    <a:pt x="1801797" y="198501"/>
                    <a:pt x="1782519" y="227956"/>
                  </a:cubicBezTo>
                  <a:cubicBezTo>
                    <a:pt x="1764527" y="254849"/>
                    <a:pt x="1755531" y="288146"/>
                    <a:pt x="1755531" y="329128"/>
                  </a:cubicBezTo>
                  <a:lnTo>
                    <a:pt x="1755531" y="537874"/>
                  </a:lnTo>
                  <a:lnTo>
                    <a:pt x="1754246" y="537874"/>
                  </a:lnTo>
                  <a:lnTo>
                    <a:pt x="1714406" y="537874"/>
                  </a:lnTo>
                  <a:lnTo>
                    <a:pt x="1714406" y="157520"/>
                  </a:lnTo>
                  <a:lnTo>
                    <a:pt x="1746534" y="157520"/>
                  </a:lnTo>
                  <a:lnTo>
                    <a:pt x="1752960" y="230518"/>
                  </a:lnTo>
                  <a:cubicBezTo>
                    <a:pt x="1773523" y="174168"/>
                    <a:pt x="1808223" y="145994"/>
                    <a:pt x="1859629" y="145994"/>
                  </a:cubicBezTo>
                  <a:close/>
                  <a:moveTo>
                    <a:pt x="204340" y="0"/>
                  </a:moveTo>
                  <a:cubicBezTo>
                    <a:pt x="260888" y="0"/>
                    <a:pt x="307153" y="12806"/>
                    <a:pt x="343138" y="39700"/>
                  </a:cubicBezTo>
                  <a:cubicBezTo>
                    <a:pt x="375267" y="62751"/>
                    <a:pt x="394544" y="93487"/>
                    <a:pt x="402256" y="131907"/>
                  </a:cubicBezTo>
                  <a:lnTo>
                    <a:pt x="359845" y="131907"/>
                  </a:lnTo>
                  <a:cubicBezTo>
                    <a:pt x="352134" y="99891"/>
                    <a:pt x="334142" y="75558"/>
                    <a:pt x="303298" y="57630"/>
                  </a:cubicBezTo>
                  <a:cubicBezTo>
                    <a:pt x="276309" y="42261"/>
                    <a:pt x="244180" y="34577"/>
                    <a:pt x="204340" y="34577"/>
                  </a:cubicBezTo>
                  <a:cubicBezTo>
                    <a:pt x="155504" y="34577"/>
                    <a:pt x="118235" y="44823"/>
                    <a:pt x="93817" y="64033"/>
                  </a:cubicBezTo>
                  <a:cubicBezTo>
                    <a:pt x="73254" y="80681"/>
                    <a:pt x="64258" y="101171"/>
                    <a:pt x="64258" y="126784"/>
                  </a:cubicBezTo>
                  <a:cubicBezTo>
                    <a:pt x="64258" y="157521"/>
                    <a:pt x="75824" y="181853"/>
                    <a:pt x="97672" y="198501"/>
                  </a:cubicBezTo>
                  <a:cubicBezTo>
                    <a:pt x="119520" y="215150"/>
                    <a:pt x="158075" y="229237"/>
                    <a:pt x="213336" y="240762"/>
                  </a:cubicBezTo>
                  <a:cubicBezTo>
                    <a:pt x="286591" y="257411"/>
                    <a:pt x="337998" y="280463"/>
                    <a:pt x="366271" y="307356"/>
                  </a:cubicBezTo>
                  <a:cubicBezTo>
                    <a:pt x="390689" y="330409"/>
                    <a:pt x="402256" y="362425"/>
                    <a:pt x="402256" y="400845"/>
                  </a:cubicBezTo>
                  <a:cubicBezTo>
                    <a:pt x="402256" y="446948"/>
                    <a:pt x="382978" y="482806"/>
                    <a:pt x="344423" y="509700"/>
                  </a:cubicBezTo>
                  <a:cubicBezTo>
                    <a:pt x="309724" y="534033"/>
                    <a:pt x="263458" y="546839"/>
                    <a:pt x="205626" y="546839"/>
                  </a:cubicBezTo>
                  <a:cubicBezTo>
                    <a:pt x="146508" y="546839"/>
                    <a:pt x="98957" y="532752"/>
                    <a:pt x="61687" y="503297"/>
                  </a:cubicBezTo>
                  <a:cubicBezTo>
                    <a:pt x="28273" y="477683"/>
                    <a:pt x="7710" y="444386"/>
                    <a:pt x="0" y="400845"/>
                  </a:cubicBezTo>
                  <a:lnTo>
                    <a:pt x="43695" y="400845"/>
                  </a:lnTo>
                  <a:cubicBezTo>
                    <a:pt x="51406" y="439264"/>
                    <a:pt x="70684" y="467439"/>
                    <a:pt x="104098" y="486649"/>
                  </a:cubicBezTo>
                  <a:cubicBezTo>
                    <a:pt x="131086" y="503297"/>
                    <a:pt x="165786" y="510980"/>
                    <a:pt x="205626" y="510980"/>
                  </a:cubicBezTo>
                  <a:cubicBezTo>
                    <a:pt x="258317" y="510980"/>
                    <a:pt x="298157" y="499455"/>
                    <a:pt x="325145" y="476403"/>
                  </a:cubicBezTo>
                  <a:cubicBezTo>
                    <a:pt x="350849" y="458473"/>
                    <a:pt x="362416" y="434142"/>
                    <a:pt x="362416" y="403406"/>
                  </a:cubicBezTo>
                  <a:cubicBezTo>
                    <a:pt x="362416" y="367548"/>
                    <a:pt x="349563" y="340654"/>
                    <a:pt x="322575" y="322725"/>
                  </a:cubicBezTo>
                  <a:cubicBezTo>
                    <a:pt x="296872" y="304795"/>
                    <a:pt x="251891" y="288147"/>
                    <a:pt x="186348" y="274059"/>
                  </a:cubicBezTo>
                  <a:cubicBezTo>
                    <a:pt x="124660" y="259972"/>
                    <a:pt x="80965" y="240762"/>
                    <a:pt x="55262" y="215150"/>
                  </a:cubicBezTo>
                  <a:cubicBezTo>
                    <a:pt x="34699" y="193378"/>
                    <a:pt x="23132" y="165204"/>
                    <a:pt x="23132" y="129346"/>
                  </a:cubicBezTo>
                  <a:cubicBezTo>
                    <a:pt x="23132" y="88365"/>
                    <a:pt x="41125" y="55068"/>
                    <a:pt x="75824" y="32016"/>
                  </a:cubicBezTo>
                  <a:cubicBezTo>
                    <a:pt x="107953" y="10246"/>
                    <a:pt x="151649" y="0"/>
                    <a:pt x="204340"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18" name="Freeform 6">
              <a:extLst>
                <a:ext uri="{FF2B5EF4-FFF2-40B4-BE49-F238E27FC236}">
                  <a16:creationId xmlns:a16="http://schemas.microsoft.com/office/drawing/2014/main" id="{E26DD0C4-6686-AF47-8437-ACB53BA903AC}"/>
                </a:ext>
              </a:extLst>
            </p:cNvPr>
            <p:cNvSpPr>
              <a:spLocks noChangeAspect="1" noEditPoints="1"/>
            </p:cNvSpPr>
            <p:nvPr/>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9587595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2"/>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8FEF3DC5-7A0D-5043-AE98-3AB35DDF03B6}"/>
              </a:ext>
            </a:extLst>
          </p:cNvPr>
          <p:cNvGrpSpPr/>
          <p:nvPr userDrawn="1"/>
        </p:nvGrpSpPr>
        <p:grpSpPr>
          <a:xfrm>
            <a:off x="2502974" y="2117165"/>
            <a:ext cx="4149590" cy="862260"/>
            <a:chOff x="2502974" y="2117165"/>
            <a:chExt cx="4149590" cy="862260"/>
          </a:xfrm>
          <a:solidFill>
            <a:schemeClr val="bg1"/>
          </a:solidFill>
        </p:grpSpPr>
        <p:sp>
          <p:nvSpPr>
            <p:cNvPr id="20" name="Freeform 19">
              <a:extLst>
                <a:ext uri="{FF2B5EF4-FFF2-40B4-BE49-F238E27FC236}">
                  <a16:creationId xmlns:a16="http://schemas.microsoft.com/office/drawing/2014/main" id="{807226FD-7772-8E43-918F-64CF5834DEEB}"/>
                </a:ext>
              </a:extLst>
            </p:cNvPr>
            <p:cNvSpPr>
              <a:spLocks noChangeAspect="1"/>
            </p:cNvSpPr>
            <p:nvPr/>
          </p:nvSpPr>
          <p:spPr>
            <a:xfrm>
              <a:off x="4371401" y="2430025"/>
              <a:ext cx="2281163" cy="549400"/>
            </a:xfrm>
            <a:custGeom>
              <a:avLst/>
              <a:gdLst>
                <a:gd name="connsiteX0" fmla="*/ 2108951 w 2281163"/>
                <a:gd name="connsiteY0" fmla="*/ 179291 h 549400"/>
                <a:gd name="connsiteX1" fmla="*/ 2013850 w 2281163"/>
                <a:gd name="connsiteY1" fmla="*/ 221552 h 549400"/>
                <a:gd name="connsiteX2" fmla="*/ 1975295 w 2281163"/>
                <a:gd name="connsiteY2" fmla="*/ 324005 h 549400"/>
                <a:gd name="connsiteX3" fmla="*/ 2238753 w 2281163"/>
                <a:gd name="connsiteY3" fmla="*/ 324005 h 549400"/>
                <a:gd name="connsiteX4" fmla="*/ 2193772 w 2281163"/>
                <a:gd name="connsiteY4" fmla="*/ 210026 h 549400"/>
                <a:gd name="connsiteX5" fmla="*/ 2108951 w 2281163"/>
                <a:gd name="connsiteY5" fmla="*/ 179291 h 549400"/>
                <a:gd name="connsiteX6" fmla="*/ 651576 w 2281163"/>
                <a:gd name="connsiteY6" fmla="*/ 179291 h 549400"/>
                <a:gd name="connsiteX7" fmla="*/ 556475 w 2281163"/>
                <a:gd name="connsiteY7" fmla="*/ 221552 h 549400"/>
                <a:gd name="connsiteX8" fmla="*/ 517920 w 2281163"/>
                <a:gd name="connsiteY8" fmla="*/ 324005 h 549400"/>
                <a:gd name="connsiteX9" fmla="*/ 781378 w 2281163"/>
                <a:gd name="connsiteY9" fmla="*/ 324005 h 549400"/>
                <a:gd name="connsiteX10" fmla="*/ 736397 w 2281163"/>
                <a:gd name="connsiteY10" fmla="*/ 210026 h 549400"/>
                <a:gd name="connsiteX11" fmla="*/ 651576 w 2281163"/>
                <a:gd name="connsiteY11" fmla="*/ 179291 h 549400"/>
                <a:gd name="connsiteX12" fmla="*/ 1310865 w 2281163"/>
                <a:gd name="connsiteY12" fmla="*/ 157520 h 549400"/>
                <a:gd name="connsiteX13" fmla="*/ 1349420 w 2281163"/>
                <a:gd name="connsiteY13" fmla="*/ 157520 h 549400"/>
                <a:gd name="connsiteX14" fmla="*/ 1349420 w 2281163"/>
                <a:gd name="connsiteY14" fmla="*/ 414932 h 549400"/>
                <a:gd name="connsiteX15" fmla="*/ 1380264 w 2281163"/>
                <a:gd name="connsiteY15" fmla="*/ 493052 h 549400"/>
                <a:gd name="connsiteX16" fmla="*/ 1449662 w 2281163"/>
                <a:gd name="connsiteY16" fmla="*/ 514823 h 549400"/>
                <a:gd name="connsiteX17" fmla="*/ 1535768 w 2281163"/>
                <a:gd name="connsiteY17" fmla="*/ 475122 h 549400"/>
                <a:gd name="connsiteX18" fmla="*/ 1564042 w 2281163"/>
                <a:gd name="connsiteY18" fmla="*/ 390599 h 549400"/>
                <a:gd name="connsiteX19" fmla="*/ 1564042 w 2281163"/>
                <a:gd name="connsiteY19" fmla="*/ 157520 h 549400"/>
                <a:gd name="connsiteX20" fmla="*/ 1603882 w 2281163"/>
                <a:gd name="connsiteY20" fmla="*/ 157520 h 549400"/>
                <a:gd name="connsiteX21" fmla="*/ 1603882 w 2281163"/>
                <a:gd name="connsiteY21" fmla="*/ 537875 h 549400"/>
                <a:gd name="connsiteX22" fmla="*/ 1571752 w 2281163"/>
                <a:gd name="connsiteY22" fmla="*/ 537875 h 549400"/>
                <a:gd name="connsiteX23" fmla="*/ 1566611 w 2281163"/>
                <a:gd name="connsiteY23" fmla="*/ 477683 h 549400"/>
                <a:gd name="connsiteX24" fmla="*/ 1507494 w 2281163"/>
                <a:gd name="connsiteY24" fmla="*/ 534033 h 549400"/>
                <a:gd name="connsiteX25" fmla="*/ 1441951 w 2281163"/>
                <a:gd name="connsiteY25" fmla="*/ 549400 h 549400"/>
                <a:gd name="connsiteX26" fmla="*/ 1344279 w 2281163"/>
                <a:gd name="connsiteY26" fmla="*/ 510981 h 549400"/>
                <a:gd name="connsiteX27" fmla="*/ 1310865 w 2281163"/>
                <a:gd name="connsiteY27" fmla="*/ 414932 h 549400"/>
                <a:gd name="connsiteX28" fmla="*/ 2108951 w 2281163"/>
                <a:gd name="connsiteY28" fmla="*/ 148555 h 549400"/>
                <a:gd name="connsiteX29" fmla="*/ 2237468 w 2281163"/>
                <a:gd name="connsiteY29" fmla="*/ 207465 h 549400"/>
                <a:gd name="connsiteX30" fmla="*/ 2281163 w 2281163"/>
                <a:gd name="connsiteY30" fmla="*/ 359863 h 549400"/>
                <a:gd name="connsiteX31" fmla="*/ 1975295 w 2281163"/>
                <a:gd name="connsiteY31" fmla="*/ 359863 h 549400"/>
                <a:gd name="connsiteX32" fmla="*/ 2024131 w 2281163"/>
                <a:gd name="connsiteY32" fmla="*/ 484087 h 549400"/>
                <a:gd name="connsiteX33" fmla="*/ 2116663 w 2281163"/>
                <a:gd name="connsiteY33" fmla="*/ 517384 h 549400"/>
                <a:gd name="connsiteX34" fmla="*/ 2193772 w 2281163"/>
                <a:gd name="connsiteY34" fmla="*/ 493051 h 549400"/>
                <a:gd name="connsiteX35" fmla="*/ 2232327 w 2281163"/>
                <a:gd name="connsiteY35" fmla="*/ 434141 h 549400"/>
                <a:gd name="connsiteX36" fmla="*/ 2273453 w 2281163"/>
                <a:gd name="connsiteY36" fmla="*/ 434141 h 549400"/>
                <a:gd name="connsiteX37" fmla="*/ 2213050 w 2281163"/>
                <a:gd name="connsiteY37" fmla="*/ 521225 h 549400"/>
                <a:gd name="connsiteX38" fmla="*/ 2115378 w 2281163"/>
                <a:gd name="connsiteY38" fmla="*/ 549400 h 549400"/>
                <a:gd name="connsiteX39" fmla="*/ 1980436 w 2281163"/>
                <a:gd name="connsiteY39" fmla="*/ 490490 h 549400"/>
                <a:gd name="connsiteX40" fmla="*/ 1935455 w 2281163"/>
                <a:gd name="connsiteY40" fmla="*/ 348337 h 549400"/>
                <a:gd name="connsiteX41" fmla="*/ 1992002 w 2281163"/>
                <a:gd name="connsiteY41" fmla="*/ 193378 h 549400"/>
                <a:gd name="connsiteX42" fmla="*/ 2108951 w 2281163"/>
                <a:gd name="connsiteY42" fmla="*/ 148555 h 549400"/>
                <a:gd name="connsiteX43" fmla="*/ 1065399 w 2281163"/>
                <a:gd name="connsiteY43" fmla="*/ 148555 h 549400"/>
                <a:gd name="connsiteX44" fmla="*/ 1173353 w 2281163"/>
                <a:gd name="connsiteY44" fmla="*/ 184413 h 549400"/>
                <a:gd name="connsiteX45" fmla="*/ 1219619 w 2281163"/>
                <a:gd name="connsiteY45" fmla="*/ 265095 h 549400"/>
                <a:gd name="connsiteX46" fmla="*/ 1175923 w 2281163"/>
                <a:gd name="connsiteY46" fmla="*/ 265095 h 549400"/>
                <a:gd name="connsiteX47" fmla="*/ 1134798 w 2281163"/>
                <a:gd name="connsiteY47" fmla="*/ 201062 h 549400"/>
                <a:gd name="connsiteX48" fmla="*/ 1065399 w 2281163"/>
                <a:gd name="connsiteY48" fmla="*/ 181852 h 549400"/>
                <a:gd name="connsiteX49" fmla="*/ 967727 w 2281163"/>
                <a:gd name="connsiteY49" fmla="*/ 230517 h 549400"/>
                <a:gd name="connsiteX50" fmla="*/ 934313 w 2281163"/>
                <a:gd name="connsiteY50" fmla="*/ 354740 h 549400"/>
                <a:gd name="connsiteX51" fmla="*/ 978008 w 2281163"/>
                <a:gd name="connsiteY51" fmla="*/ 482806 h 549400"/>
                <a:gd name="connsiteX52" fmla="*/ 1064114 w 2281163"/>
                <a:gd name="connsiteY52" fmla="*/ 517384 h 549400"/>
                <a:gd name="connsiteX53" fmla="*/ 1143794 w 2281163"/>
                <a:gd name="connsiteY53" fmla="*/ 489210 h 549400"/>
                <a:gd name="connsiteX54" fmla="*/ 1181064 w 2281163"/>
                <a:gd name="connsiteY54" fmla="*/ 426457 h 549400"/>
                <a:gd name="connsiteX55" fmla="*/ 1222189 w 2281163"/>
                <a:gd name="connsiteY55" fmla="*/ 426457 h 549400"/>
                <a:gd name="connsiteX56" fmla="*/ 1165642 w 2281163"/>
                <a:gd name="connsiteY56" fmla="*/ 518664 h 549400"/>
                <a:gd name="connsiteX57" fmla="*/ 1065399 w 2281163"/>
                <a:gd name="connsiteY57" fmla="*/ 549400 h 549400"/>
                <a:gd name="connsiteX58" fmla="*/ 939453 w 2281163"/>
                <a:gd name="connsiteY58" fmla="*/ 491770 h 549400"/>
                <a:gd name="connsiteX59" fmla="*/ 895758 w 2281163"/>
                <a:gd name="connsiteY59" fmla="*/ 352179 h 549400"/>
                <a:gd name="connsiteX60" fmla="*/ 951020 w 2281163"/>
                <a:gd name="connsiteY60" fmla="*/ 193378 h 549400"/>
                <a:gd name="connsiteX61" fmla="*/ 1065399 w 2281163"/>
                <a:gd name="connsiteY61" fmla="*/ 148555 h 549400"/>
                <a:gd name="connsiteX62" fmla="*/ 651576 w 2281163"/>
                <a:gd name="connsiteY62" fmla="*/ 148555 h 549400"/>
                <a:gd name="connsiteX63" fmla="*/ 780092 w 2281163"/>
                <a:gd name="connsiteY63" fmla="*/ 207465 h 549400"/>
                <a:gd name="connsiteX64" fmla="*/ 823788 w 2281163"/>
                <a:gd name="connsiteY64" fmla="*/ 359863 h 549400"/>
                <a:gd name="connsiteX65" fmla="*/ 517920 w 2281163"/>
                <a:gd name="connsiteY65" fmla="*/ 359863 h 549400"/>
                <a:gd name="connsiteX66" fmla="*/ 566756 w 2281163"/>
                <a:gd name="connsiteY66" fmla="*/ 484087 h 549400"/>
                <a:gd name="connsiteX67" fmla="*/ 659288 w 2281163"/>
                <a:gd name="connsiteY67" fmla="*/ 517384 h 549400"/>
                <a:gd name="connsiteX68" fmla="*/ 736397 w 2281163"/>
                <a:gd name="connsiteY68" fmla="*/ 493051 h 549400"/>
                <a:gd name="connsiteX69" fmla="*/ 774952 w 2281163"/>
                <a:gd name="connsiteY69" fmla="*/ 434141 h 549400"/>
                <a:gd name="connsiteX70" fmla="*/ 816077 w 2281163"/>
                <a:gd name="connsiteY70" fmla="*/ 434141 h 549400"/>
                <a:gd name="connsiteX71" fmla="*/ 755674 w 2281163"/>
                <a:gd name="connsiteY71" fmla="*/ 521225 h 549400"/>
                <a:gd name="connsiteX72" fmla="*/ 658002 w 2281163"/>
                <a:gd name="connsiteY72" fmla="*/ 549400 h 549400"/>
                <a:gd name="connsiteX73" fmla="*/ 523061 w 2281163"/>
                <a:gd name="connsiteY73" fmla="*/ 490490 h 549400"/>
                <a:gd name="connsiteX74" fmla="*/ 478080 w 2281163"/>
                <a:gd name="connsiteY74" fmla="*/ 348337 h 549400"/>
                <a:gd name="connsiteX75" fmla="*/ 534626 w 2281163"/>
                <a:gd name="connsiteY75" fmla="*/ 193378 h 549400"/>
                <a:gd name="connsiteX76" fmla="*/ 651576 w 2281163"/>
                <a:gd name="connsiteY76" fmla="*/ 148555 h 549400"/>
                <a:gd name="connsiteX77" fmla="*/ 1859629 w 2281163"/>
                <a:gd name="connsiteY77" fmla="*/ 145994 h 549400"/>
                <a:gd name="connsiteX78" fmla="*/ 1899469 w 2281163"/>
                <a:gd name="connsiteY78" fmla="*/ 152397 h 549400"/>
                <a:gd name="connsiteX79" fmla="*/ 1899469 w 2281163"/>
                <a:gd name="connsiteY79" fmla="*/ 190817 h 549400"/>
                <a:gd name="connsiteX80" fmla="*/ 1858343 w 2281163"/>
                <a:gd name="connsiteY80" fmla="*/ 184414 h 549400"/>
                <a:gd name="connsiteX81" fmla="*/ 1782519 w 2281163"/>
                <a:gd name="connsiteY81" fmla="*/ 227956 h 549400"/>
                <a:gd name="connsiteX82" fmla="*/ 1755531 w 2281163"/>
                <a:gd name="connsiteY82" fmla="*/ 329128 h 549400"/>
                <a:gd name="connsiteX83" fmla="*/ 1755531 w 2281163"/>
                <a:gd name="connsiteY83" fmla="*/ 537874 h 549400"/>
                <a:gd name="connsiteX84" fmla="*/ 1754246 w 2281163"/>
                <a:gd name="connsiteY84" fmla="*/ 537874 h 549400"/>
                <a:gd name="connsiteX85" fmla="*/ 1714406 w 2281163"/>
                <a:gd name="connsiteY85" fmla="*/ 537874 h 549400"/>
                <a:gd name="connsiteX86" fmla="*/ 1714406 w 2281163"/>
                <a:gd name="connsiteY86" fmla="*/ 157520 h 549400"/>
                <a:gd name="connsiteX87" fmla="*/ 1746534 w 2281163"/>
                <a:gd name="connsiteY87" fmla="*/ 157520 h 549400"/>
                <a:gd name="connsiteX88" fmla="*/ 1752960 w 2281163"/>
                <a:gd name="connsiteY88" fmla="*/ 230518 h 549400"/>
                <a:gd name="connsiteX89" fmla="*/ 1859629 w 2281163"/>
                <a:gd name="connsiteY89" fmla="*/ 145994 h 549400"/>
                <a:gd name="connsiteX90" fmla="*/ 204340 w 2281163"/>
                <a:gd name="connsiteY90" fmla="*/ 0 h 549400"/>
                <a:gd name="connsiteX91" fmla="*/ 343138 w 2281163"/>
                <a:gd name="connsiteY91" fmla="*/ 39700 h 549400"/>
                <a:gd name="connsiteX92" fmla="*/ 402256 w 2281163"/>
                <a:gd name="connsiteY92" fmla="*/ 131907 h 549400"/>
                <a:gd name="connsiteX93" fmla="*/ 359845 w 2281163"/>
                <a:gd name="connsiteY93" fmla="*/ 131907 h 549400"/>
                <a:gd name="connsiteX94" fmla="*/ 303298 w 2281163"/>
                <a:gd name="connsiteY94" fmla="*/ 57630 h 549400"/>
                <a:gd name="connsiteX95" fmla="*/ 204340 w 2281163"/>
                <a:gd name="connsiteY95" fmla="*/ 34577 h 549400"/>
                <a:gd name="connsiteX96" fmla="*/ 93817 w 2281163"/>
                <a:gd name="connsiteY96" fmla="*/ 64033 h 549400"/>
                <a:gd name="connsiteX97" fmla="*/ 64258 w 2281163"/>
                <a:gd name="connsiteY97" fmla="*/ 126784 h 549400"/>
                <a:gd name="connsiteX98" fmla="*/ 97672 w 2281163"/>
                <a:gd name="connsiteY98" fmla="*/ 198501 h 549400"/>
                <a:gd name="connsiteX99" fmla="*/ 213336 w 2281163"/>
                <a:gd name="connsiteY99" fmla="*/ 240762 h 549400"/>
                <a:gd name="connsiteX100" fmla="*/ 366271 w 2281163"/>
                <a:gd name="connsiteY100" fmla="*/ 307356 h 549400"/>
                <a:gd name="connsiteX101" fmla="*/ 402256 w 2281163"/>
                <a:gd name="connsiteY101" fmla="*/ 400845 h 549400"/>
                <a:gd name="connsiteX102" fmla="*/ 344423 w 2281163"/>
                <a:gd name="connsiteY102" fmla="*/ 509700 h 549400"/>
                <a:gd name="connsiteX103" fmla="*/ 205626 w 2281163"/>
                <a:gd name="connsiteY103" fmla="*/ 546839 h 549400"/>
                <a:gd name="connsiteX104" fmla="*/ 61687 w 2281163"/>
                <a:gd name="connsiteY104" fmla="*/ 503297 h 549400"/>
                <a:gd name="connsiteX105" fmla="*/ 0 w 2281163"/>
                <a:gd name="connsiteY105" fmla="*/ 400845 h 549400"/>
                <a:gd name="connsiteX106" fmla="*/ 43695 w 2281163"/>
                <a:gd name="connsiteY106" fmla="*/ 400845 h 549400"/>
                <a:gd name="connsiteX107" fmla="*/ 104098 w 2281163"/>
                <a:gd name="connsiteY107" fmla="*/ 486649 h 549400"/>
                <a:gd name="connsiteX108" fmla="*/ 205626 w 2281163"/>
                <a:gd name="connsiteY108" fmla="*/ 510980 h 549400"/>
                <a:gd name="connsiteX109" fmla="*/ 325145 w 2281163"/>
                <a:gd name="connsiteY109" fmla="*/ 476403 h 549400"/>
                <a:gd name="connsiteX110" fmla="*/ 362416 w 2281163"/>
                <a:gd name="connsiteY110" fmla="*/ 403406 h 549400"/>
                <a:gd name="connsiteX111" fmla="*/ 322575 w 2281163"/>
                <a:gd name="connsiteY111" fmla="*/ 322725 h 549400"/>
                <a:gd name="connsiteX112" fmla="*/ 186348 w 2281163"/>
                <a:gd name="connsiteY112" fmla="*/ 274059 h 549400"/>
                <a:gd name="connsiteX113" fmla="*/ 55262 w 2281163"/>
                <a:gd name="connsiteY113" fmla="*/ 215150 h 549400"/>
                <a:gd name="connsiteX114" fmla="*/ 23132 w 2281163"/>
                <a:gd name="connsiteY114" fmla="*/ 129346 h 549400"/>
                <a:gd name="connsiteX115" fmla="*/ 75824 w 2281163"/>
                <a:gd name="connsiteY115" fmla="*/ 32016 h 549400"/>
                <a:gd name="connsiteX116" fmla="*/ 204340 w 2281163"/>
                <a:gd name="connsiteY116" fmla="*/ 0 h 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281163" h="549400">
                  <a:moveTo>
                    <a:pt x="2108951" y="179291"/>
                  </a:moveTo>
                  <a:cubicBezTo>
                    <a:pt x="2070397" y="179291"/>
                    <a:pt x="2038268" y="193378"/>
                    <a:pt x="2013850" y="221552"/>
                  </a:cubicBezTo>
                  <a:cubicBezTo>
                    <a:pt x="1992002" y="247166"/>
                    <a:pt x="1979151" y="281743"/>
                    <a:pt x="1975295" y="324005"/>
                  </a:cubicBezTo>
                  <a:lnTo>
                    <a:pt x="2238753" y="324005"/>
                  </a:lnTo>
                  <a:cubicBezTo>
                    <a:pt x="2236182" y="274059"/>
                    <a:pt x="2220761" y="235639"/>
                    <a:pt x="2193772" y="210026"/>
                  </a:cubicBezTo>
                  <a:cubicBezTo>
                    <a:pt x="2171924" y="189536"/>
                    <a:pt x="2143651" y="179291"/>
                    <a:pt x="2108951" y="179291"/>
                  </a:cubicBezTo>
                  <a:close/>
                  <a:moveTo>
                    <a:pt x="651576" y="179291"/>
                  </a:moveTo>
                  <a:cubicBezTo>
                    <a:pt x="613021" y="179291"/>
                    <a:pt x="580893" y="193378"/>
                    <a:pt x="556475" y="221552"/>
                  </a:cubicBezTo>
                  <a:cubicBezTo>
                    <a:pt x="534626" y="247166"/>
                    <a:pt x="521775" y="281743"/>
                    <a:pt x="517920" y="324005"/>
                  </a:cubicBezTo>
                  <a:lnTo>
                    <a:pt x="781378" y="324005"/>
                  </a:lnTo>
                  <a:cubicBezTo>
                    <a:pt x="778807" y="274059"/>
                    <a:pt x="763386" y="235639"/>
                    <a:pt x="736397" y="210026"/>
                  </a:cubicBezTo>
                  <a:cubicBezTo>
                    <a:pt x="714550" y="189536"/>
                    <a:pt x="684991" y="179291"/>
                    <a:pt x="651576" y="179291"/>
                  </a:cubicBezTo>
                  <a:close/>
                  <a:moveTo>
                    <a:pt x="1310865" y="157520"/>
                  </a:moveTo>
                  <a:lnTo>
                    <a:pt x="1349420" y="157520"/>
                  </a:lnTo>
                  <a:lnTo>
                    <a:pt x="1349420" y="414932"/>
                  </a:lnTo>
                  <a:cubicBezTo>
                    <a:pt x="1349420" y="449509"/>
                    <a:pt x="1359701" y="476403"/>
                    <a:pt x="1380264" y="493052"/>
                  </a:cubicBezTo>
                  <a:cubicBezTo>
                    <a:pt x="1396971" y="507139"/>
                    <a:pt x="1420103" y="514823"/>
                    <a:pt x="1449662" y="514823"/>
                  </a:cubicBezTo>
                  <a:cubicBezTo>
                    <a:pt x="1484361" y="514823"/>
                    <a:pt x="1513920" y="502016"/>
                    <a:pt x="1535768" y="475122"/>
                  </a:cubicBezTo>
                  <a:cubicBezTo>
                    <a:pt x="1553760" y="452071"/>
                    <a:pt x="1564042" y="423896"/>
                    <a:pt x="1564042" y="390599"/>
                  </a:cubicBezTo>
                  <a:lnTo>
                    <a:pt x="1564042" y="157520"/>
                  </a:lnTo>
                  <a:lnTo>
                    <a:pt x="1603882" y="157520"/>
                  </a:lnTo>
                  <a:lnTo>
                    <a:pt x="1603882" y="537875"/>
                  </a:lnTo>
                  <a:lnTo>
                    <a:pt x="1571752" y="537875"/>
                  </a:lnTo>
                  <a:lnTo>
                    <a:pt x="1566611" y="477683"/>
                  </a:lnTo>
                  <a:cubicBezTo>
                    <a:pt x="1552475" y="502016"/>
                    <a:pt x="1533197" y="521226"/>
                    <a:pt x="1507494" y="534033"/>
                  </a:cubicBezTo>
                  <a:cubicBezTo>
                    <a:pt x="1486932" y="544278"/>
                    <a:pt x="1465084" y="549400"/>
                    <a:pt x="1441951" y="549400"/>
                  </a:cubicBezTo>
                  <a:cubicBezTo>
                    <a:pt x="1399541" y="549400"/>
                    <a:pt x="1367412" y="536594"/>
                    <a:pt x="1344279" y="510981"/>
                  </a:cubicBezTo>
                  <a:cubicBezTo>
                    <a:pt x="1322431" y="487929"/>
                    <a:pt x="1310865" y="455913"/>
                    <a:pt x="1310865" y="414932"/>
                  </a:cubicBezTo>
                  <a:close/>
                  <a:moveTo>
                    <a:pt x="2108951" y="148555"/>
                  </a:moveTo>
                  <a:cubicBezTo>
                    <a:pt x="2164214" y="148555"/>
                    <a:pt x="2206624" y="167765"/>
                    <a:pt x="2237468" y="207465"/>
                  </a:cubicBezTo>
                  <a:cubicBezTo>
                    <a:pt x="2265741" y="243323"/>
                    <a:pt x="2281163" y="294550"/>
                    <a:pt x="2281163" y="359863"/>
                  </a:cubicBezTo>
                  <a:lnTo>
                    <a:pt x="1975295" y="359863"/>
                  </a:lnTo>
                  <a:cubicBezTo>
                    <a:pt x="1977865" y="414931"/>
                    <a:pt x="1993287" y="455912"/>
                    <a:pt x="2024131" y="484087"/>
                  </a:cubicBezTo>
                  <a:cubicBezTo>
                    <a:pt x="2048550" y="505857"/>
                    <a:pt x="2080678" y="517384"/>
                    <a:pt x="2116663" y="517384"/>
                  </a:cubicBezTo>
                  <a:cubicBezTo>
                    <a:pt x="2147507" y="517384"/>
                    <a:pt x="2173210" y="509700"/>
                    <a:pt x="2193772" y="493051"/>
                  </a:cubicBezTo>
                  <a:cubicBezTo>
                    <a:pt x="2213050" y="476403"/>
                    <a:pt x="2225901" y="457193"/>
                    <a:pt x="2232327" y="434141"/>
                  </a:cubicBezTo>
                  <a:lnTo>
                    <a:pt x="2273453" y="434141"/>
                  </a:lnTo>
                  <a:cubicBezTo>
                    <a:pt x="2263171" y="471280"/>
                    <a:pt x="2243894" y="500735"/>
                    <a:pt x="2213050" y="521225"/>
                  </a:cubicBezTo>
                  <a:cubicBezTo>
                    <a:pt x="2186062" y="539154"/>
                    <a:pt x="2152647" y="549400"/>
                    <a:pt x="2115378" y="549400"/>
                  </a:cubicBezTo>
                  <a:cubicBezTo>
                    <a:pt x="2058831" y="549400"/>
                    <a:pt x="2012565" y="530190"/>
                    <a:pt x="1980436" y="490490"/>
                  </a:cubicBezTo>
                  <a:cubicBezTo>
                    <a:pt x="1949592" y="454631"/>
                    <a:pt x="1935455" y="407247"/>
                    <a:pt x="1935455" y="348337"/>
                  </a:cubicBezTo>
                  <a:cubicBezTo>
                    <a:pt x="1935455" y="281743"/>
                    <a:pt x="1954733" y="229236"/>
                    <a:pt x="1992002" y="193378"/>
                  </a:cubicBezTo>
                  <a:cubicBezTo>
                    <a:pt x="2022846" y="162642"/>
                    <a:pt x="2061401" y="148555"/>
                    <a:pt x="2108951" y="148555"/>
                  </a:cubicBezTo>
                  <a:close/>
                  <a:moveTo>
                    <a:pt x="1065399" y="148555"/>
                  </a:moveTo>
                  <a:cubicBezTo>
                    <a:pt x="1109094" y="148555"/>
                    <a:pt x="1145079" y="160081"/>
                    <a:pt x="1173353" y="184413"/>
                  </a:cubicBezTo>
                  <a:cubicBezTo>
                    <a:pt x="1197771" y="204904"/>
                    <a:pt x="1213193" y="231798"/>
                    <a:pt x="1219619" y="265095"/>
                  </a:cubicBezTo>
                  <a:lnTo>
                    <a:pt x="1175923" y="265095"/>
                  </a:lnTo>
                  <a:cubicBezTo>
                    <a:pt x="1170783" y="238201"/>
                    <a:pt x="1157931" y="216430"/>
                    <a:pt x="1134798" y="201062"/>
                  </a:cubicBezTo>
                  <a:cubicBezTo>
                    <a:pt x="1115520" y="188255"/>
                    <a:pt x="1092388" y="181852"/>
                    <a:pt x="1065399" y="181852"/>
                  </a:cubicBezTo>
                  <a:cubicBezTo>
                    <a:pt x="1024274" y="181852"/>
                    <a:pt x="990860" y="198501"/>
                    <a:pt x="967727" y="230517"/>
                  </a:cubicBezTo>
                  <a:cubicBezTo>
                    <a:pt x="945879" y="261253"/>
                    <a:pt x="934313" y="302233"/>
                    <a:pt x="934313" y="354740"/>
                  </a:cubicBezTo>
                  <a:cubicBezTo>
                    <a:pt x="934313" y="411089"/>
                    <a:pt x="948449" y="454631"/>
                    <a:pt x="978008" y="482806"/>
                  </a:cubicBezTo>
                  <a:cubicBezTo>
                    <a:pt x="1001141" y="505857"/>
                    <a:pt x="1029415" y="517384"/>
                    <a:pt x="1064114" y="517384"/>
                  </a:cubicBezTo>
                  <a:cubicBezTo>
                    <a:pt x="1096243" y="517384"/>
                    <a:pt x="1121947" y="508418"/>
                    <a:pt x="1143794" y="489210"/>
                  </a:cubicBezTo>
                  <a:cubicBezTo>
                    <a:pt x="1165642" y="471280"/>
                    <a:pt x="1177208" y="450790"/>
                    <a:pt x="1181064" y="426457"/>
                  </a:cubicBezTo>
                  <a:lnTo>
                    <a:pt x="1222189" y="426457"/>
                  </a:lnTo>
                  <a:cubicBezTo>
                    <a:pt x="1215763" y="464877"/>
                    <a:pt x="1196485" y="495612"/>
                    <a:pt x="1165642" y="518664"/>
                  </a:cubicBezTo>
                  <a:cubicBezTo>
                    <a:pt x="1137368" y="539154"/>
                    <a:pt x="1103954" y="549400"/>
                    <a:pt x="1065399" y="549400"/>
                  </a:cubicBezTo>
                  <a:cubicBezTo>
                    <a:pt x="1012707" y="549400"/>
                    <a:pt x="970297" y="530190"/>
                    <a:pt x="939453" y="491770"/>
                  </a:cubicBezTo>
                  <a:cubicBezTo>
                    <a:pt x="911180" y="457193"/>
                    <a:pt x="895758" y="409809"/>
                    <a:pt x="895758" y="352179"/>
                  </a:cubicBezTo>
                  <a:cubicBezTo>
                    <a:pt x="895758" y="283023"/>
                    <a:pt x="913750" y="230517"/>
                    <a:pt x="951020" y="193378"/>
                  </a:cubicBezTo>
                  <a:cubicBezTo>
                    <a:pt x="981863" y="163923"/>
                    <a:pt x="1019134" y="148555"/>
                    <a:pt x="1065399" y="148555"/>
                  </a:cubicBezTo>
                  <a:close/>
                  <a:moveTo>
                    <a:pt x="651576" y="148555"/>
                  </a:moveTo>
                  <a:cubicBezTo>
                    <a:pt x="706838" y="148555"/>
                    <a:pt x="749248" y="167765"/>
                    <a:pt x="780092" y="207465"/>
                  </a:cubicBezTo>
                  <a:cubicBezTo>
                    <a:pt x="808366" y="243323"/>
                    <a:pt x="823788" y="294550"/>
                    <a:pt x="823788" y="359863"/>
                  </a:cubicBezTo>
                  <a:lnTo>
                    <a:pt x="517920" y="359863"/>
                  </a:lnTo>
                  <a:cubicBezTo>
                    <a:pt x="520490" y="414931"/>
                    <a:pt x="535912" y="455912"/>
                    <a:pt x="566756" y="484087"/>
                  </a:cubicBezTo>
                  <a:cubicBezTo>
                    <a:pt x="591174" y="505857"/>
                    <a:pt x="623303" y="517384"/>
                    <a:pt x="659288" y="517384"/>
                  </a:cubicBezTo>
                  <a:cubicBezTo>
                    <a:pt x="690132" y="517384"/>
                    <a:pt x="715834" y="509700"/>
                    <a:pt x="736397" y="493051"/>
                  </a:cubicBezTo>
                  <a:cubicBezTo>
                    <a:pt x="755674" y="476403"/>
                    <a:pt x="768527" y="457193"/>
                    <a:pt x="774952" y="434141"/>
                  </a:cubicBezTo>
                  <a:lnTo>
                    <a:pt x="816077" y="434141"/>
                  </a:lnTo>
                  <a:cubicBezTo>
                    <a:pt x="805796" y="471280"/>
                    <a:pt x="786518" y="500735"/>
                    <a:pt x="755674" y="521225"/>
                  </a:cubicBezTo>
                  <a:cubicBezTo>
                    <a:pt x="728686" y="539154"/>
                    <a:pt x="695272" y="549400"/>
                    <a:pt x="658002" y="549400"/>
                  </a:cubicBezTo>
                  <a:cubicBezTo>
                    <a:pt x="601455" y="549400"/>
                    <a:pt x="555189" y="530190"/>
                    <a:pt x="523061" y="490490"/>
                  </a:cubicBezTo>
                  <a:cubicBezTo>
                    <a:pt x="492216" y="454631"/>
                    <a:pt x="478080" y="407247"/>
                    <a:pt x="478080" y="348337"/>
                  </a:cubicBezTo>
                  <a:cubicBezTo>
                    <a:pt x="478080" y="281743"/>
                    <a:pt x="497357" y="229236"/>
                    <a:pt x="534626" y="193378"/>
                  </a:cubicBezTo>
                  <a:cubicBezTo>
                    <a:pt x="565471" y="162642"/>
                    <a:pt x="604025" y="148555"/>
                    <a:pt x="651576" y="148555"/>
                  </a:cubicBezTo>
                  <a:close/>
                  <a:moveTo>
                    <a:pt x="1859629" y="145994"/>
                  </a:moveTo>
                  <a:cubicBezTo>
                    <a:pt x="1873765" y="145994"/>
                    <a:pt x="1887902" y="148555"/>
                    <a:pt x="1899469" y="152397"/>
                  </a:cubicBezTo>
                  <a:lnTo>
                    <a:pt x="1899469" y="190817"/>
                  </a:lnTo>
                  <a:cubicBezTo>
                    <a:pt x="1884047" y="186975"/>
                    <a:pt x="1869910" y="184414"/>
                    <a:pt x="1858343" y="184414"/>
                  </a:cubicBezTo>
                  <a:cubicBezTo>
                    <a:pt x="1827500" y="184414"/>
                    <a:pt x="1801797" y="198501"/>
                    <a:pt x="1782519" y="227956"/>
                  </a:cubicBezTo>
                  <a:cubicBezTo>
                    <a:pt x="1764527" y="254849"/>
                    <a:pt x="1755531" y="288146"/>
                    <a:pt x="1755531" y="329128"/>
                  </a:cubicBezTo>
                  <a:lnTo>
                    <a:pt x="1755531" y="537874"/>
                  </a:lnTo>
                  <a:lnTo>
                    <a:pt x="1754246" y="537874"/>
                  </a:lnTo>
                  <a:lnTo>
                    <a:pt x="1714406" y="537874"/>
                  </a:lnTo>
                  <a:lnTo>
                    <a:pt x="1714406" y="157520"/>
                  </a:lnTo>
                  <a:lnTo>
                    <a:pt x="1746534" y="157520"/>
                  </a:lnTo>
                  <a:lnTo>
                    <a:pt x="1752960" y="230518"/>
                  </a:lnTo>
                  <a:cubicBezTo>
                    <a:pt x="1773523" y="174168"/>
                    <a:pt x="1808223" y="145994"/>
                    <a:pt x="1859629" y="145994"/>
                  </a:cubicBezTo>
                  <a:close/>
                  <a:moveTo>
                    <a:pt x="204340" y="0"/>
                  </a:moveTo>
                  <a:cubicBezTo>
                    <a:pt x="260888" y="0"/>
                    <a:pt x="307153" y="12806"/>
                    <a:pt x="343138" y="39700"/>
                  </a:cubicBezTo>
                  <a:cubicBezTo>
                    <a:pt x="375267" y="62751"/>
                    <a:pt x="394544" y="93487"/>
                    <a:pt x="402256" y="131907"/>
                  </a:cubicBezTo>
                  <a:lnTo>
                    <a:pt x="359845" y="131907"/>
                  </a:lnTo>
                  <a:cubicBezTo>
                    <a:pt x="352134" y="99891"/>
                    <a:pt x="334142" y="75558"/>
                    <a:pt x="303298" y="57630"/>
                  </a:cubicBezTo>
                  <a:cubicBezTo>
                    <a:pt x="276309" y="42261"/>
                    <a:pt x="244180" y="34577"/>
                    <a:pt x="204340" y="34577"/>
                  </a:cubicBezTo>
                  <a:cubicBezTo>
                    <a:pt x="155504" y="34577"/>
                    <a:pt x="118235" y="44823"/>
                    <a:pt x="93817" y="64033"/>
                  </a:cubicBezTo>
                  <a:cubicBezTo>
                    <a:pt x="73254" y="80681"/>
                    <a:pt x="64258" y="101171"/>
                    <a:pt x="64258" y="126784"/>
                  </a:cubicBezTo>
                  <a:cubicBezTo>
                    <a:pt x="64258" y="157521"/>
                    <a:pt x="75824" y="181853"/>
                    <a:pt x="97672" y="198501"/>
                  </a:cubicBezTo>
                  <a:cubicBezTo>
                    <a:pt x="119520" y="215150"/>
                    <a:pt x="158075" y="229237"/>
                    <a:pt x="213336" y="240762"/>
                  </a:cubicBezTo>
                  <a:cubicBezTo>
                    <a:pt x="286591" y="257411"/>
                    <a:pt x="337998" y="280463"/>
                    <a:pt x="366271" y="307356"/>
                  </a:cubicBezTo>
                  <a:cubicBezTo>
                    <a:pt x="390689" y="330409"/>
                    <a:pt x="402256" y="362425"/>
                    <a:pt x="402256" y="400845"/>
                  </a:cubicBezTo>
                  <a:cubicBezTo>
                    <a:pt x="402256" y="446948"/>
                    <a:pt x="382978" y="482806"/>
                    <a:pt x="344423" y="509700"/>
                  </a:cubicBezTo>
                  <a:cubicBezTo>
                    <a:pt x="309724" y="534033"/>
                    <a:pt x="263458" y="546839"/>
                    <a:pt x="205626" y="546839"/>
                  </a:cubicBezTo>
                  <a:cubicBezTo>
                    <a:pt x="146508" y="546839"/>
                    <a:pt x="98957" y="532752"/>
                    <a:pt x="61687" y="503297"/>
                  </a:cubicBezTo>
                  <a:cubicBezTo>
                    <a:pt x="28273" y="477683"/>
                    <a:pt x="7710" y="444386"/>
                    <a:pt x="0" y="400845"/>
                  </a:cubicBezTo>
                  <a:lnTo>
                    <a:pt x="43695" y="400845"/>
                  </a:lnTo>
                  <a:cubicBezTo>
                    <a:pt x="51406" y="439264"/>
                    <a:pt x="70684" y="467439"/>
                    <a:pt x="104098" y="486649"/>
                  </a:cubicBezTo>
                  <a:cubicBezTo>
                    <a:pt x="131086" y="503297"/>
                    <a:pt x="165786" y="510980"/>
                    <a:pt x="205626" y="510980"/>
                  </a:cubicBezTo>
                  <a:cubicBezTo>
                    <a:pt x="258317" y="510980"/>
                    <a:pt x="298157" y="499455"/>
                    <a:pt x="325145" y="476403"/>
                  </a:cubicBezTo>
                  <a:cubicBezTo>
                    <a:pt x="350849" y="458473"/>
                    <a:pt x="362416" y="434142"/>
                    <a:pt x="362416" y="403406"/>
                  </a:cubicBezTo>
                  <a:cubicBezTo>
                    <a:pt x="362416" y="367548"/>
                    <a:pt x="349563" y="340654"/>
                    <a:pt x="322575" y="322725"/>
                  </a:cubicBezTo>
                  <a:cubicBezTo>
                    <a:pt x="296872" y="304795"/>
                    <a:pt x="251891" y="288147"/>
                    <a:pt x="186348" y="274059"/>
                  </a:cubicBezTo>
                  <a:cubicBezTo>
                    <a:pt x="124660" y="259972"/>
                    <a:pt x="80965" y="240762"/>
                    <a:pt x="55262" y="215150"/>
                  </a:cubicBezTo>
                  <a:cubicBezTo>
                    <a:pt x="34699" y="193378"/>
                    <a:pt x="23132" y="165204"/>
                    <a:pt x="23132" y="129346"/>
                  </a:cubicBezTo>
                  <a:cubicBezTo>
                    <a:pt x="23132" y="88365"/>
                    <a:pt x="41125" y="55068"/>
                    <a:pt x="75824" y="32016"/>
                  </a:cubicBezTo>
                  <a:cubicBezTo>
                    <a:pt x="107953" y="10246"/>
                    <a:pt x="151649" y="0"/>
                    <a:pt x="204340" y="0"/>
                  </a:cubicBezTo>
                  <a:close/>
                </a:path>
              </a:pathLst>
            </a:custGeom>
            <a:grpFill/>
            <a:ln w="12940" cap="flat">
              <a:noFill/>
              <a:prstDash val="solid"/>
              <a:miter/>
            </a:ln>
          </p:spPr>
          <p:txBody>
            <a:bodyPr wrap="square" rtlCol="0" anchor="ctr">
              <a:noAutofit/>
            </a:bodyPr>
            <a:lstStyle/>
            <a:p>
              <a:endParaRPr lang="en-US"/>
            </a:p>
          </p:txBody>
        </p:sp>
        <p:sp>
          <p:nvSpPr>
            <p:cNvPr id="21" name="Freeform 6">
              <a:extLst>
                <a:ext uri="{FF2B5EF4-FFF2-40B4-BE49-F238E27FC236}">
                  <a16:creationId xmlns:a16="http://schemas.microsoft.com/office/drawing/2014/main" id="{E0CAF2EF-DF79-184B-B20D-5EFA0FB18662}"/>
                </a:ext>
              </a:extLst>
            </p:cNvPr>
            <p:cNvSpPr>
              <a:spLocks noChangeAspect="1" noEditPoints="1"/>
            </p:cNvSpPr>
            <p:nvPr/>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91371196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losing – White">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D5CA5FFC-D58A-6C49-A6E8-30D9A9D5475F}"/>
              </a:ext>
            </a:extLst>
          </p:cNvPr>
          <p:cNvGrpSpPr/>
          <p:nvPr userDrawn="1"/>
        </p:nvGrpSpPr>
        <p:grpSpPr>
          <a:xfrm>
            <a:off x="2502974" y="2117165"/>
            <a:ext cx="4149590" cy="862260"/>
            <a:chOff x="2502974" y="2117165"/>
            <a:chExt cx="4149590" cy="862260"/>
          </a:xfrm>
        </p:grpSpPr>
        <p:sp>
          <p:nvSpPr>
            <p:cNvPr id="20" name="Freeform 19">
              <a:extLst>
                <a:ext uri="{FF2B5EF4-FFF2-40B4-BE49-F238E27FC236}">
                  <a16:creationId xmlns:a16="http://schemas.microsoft.com/office/drawing/2014/main" id="{B57CD1F5-CD3E-F748-BB43-477B710BE7F9}"/>
                </a:ext>
              </a:extLst>
            </p:cNvPr>
            <p:cNvSpPr>
              <a:spLocks noChangeAspect="1"/>
            </p:cNvSpPr>
            <p:nvPr/>
          </p:nvSpPr>
          <p:spPr>
            <a:xfrm>
              <a:off x="4371401" y="2430025"/>
              <a:ext cx="2281163" cy="549400"/>
            </a:xfrm>
            <a:custGeom>
              <a:avLst/>
              <a:gdLst>
                <a:gd name="connsiteX0" fmla="*/ 2108951 w 2281163"/>
                <a:gd name="connsiteY0" fmla="*/ 179291 h 549400"/>
                <a:gd name="connsiteX1" fmla="*/ 2013850 w 2281163"/>
                <a:gd name="connsiteY1" fmla="*/ 221552 h 549400"/>
                <a:gd name="connsiteX2" fmla="*/ 1975295 w 2281163"/>
                <a:gd name="connsiteY2" fmla="*/ 324005 h 549400"/>
                <a:gd name="connsiteX3" fmla="*/ 2238753 w 2281163"/>
                <a:gd name="connsiteY3" fmla="*/ 324005 h 549400"/>
                <a:gd name="connsiteX4" fmla="*/ 2193772 w 2281163"/>
                <a:gd name="connsiteY4" fmla="*/ 210026 h 549400"/>
                <a:gd name="connsiteX5" fmla="*/ 2108951 w 2281163"/>
                <a:gd name="connsiteY5" fmla="*/ 179291 h 549400"/>
                <a:gd name="connsiteX6" fmla="*/ 651576 w 2281163"/>
                <a:gd name="connsiteY6" fmla="*/ 179291 h 549400"/>
                <a:gd name="connsiteX7" fmla="*/ 556475 w 2281163"/>
                <a:gd name="connsiteY7" fmla="*/ 221552 h 549400"/>
                <a:gd name="connsiteX8" fmla="*/ 517920 w 2281163"/>
                <a:gd name="connsiteY8" fmla="*/ 324005 h 549400"/>
                <a:gd name="connsiteX9" fmla="*/ 781378 w 2281163"/>
                <a:gd name="connsiteY9" fmla="*/ 324005 h 549400"/>
                <a:gd name="connsiteX10" fmla="*/ 736397 w 2281163"/>
                <a:gd name="connsiteY10" fmla="*/ 210026 h 549400"/>
                <a:gd name="connsiteX11" fmla="*/ 651576 w 2281163"/>
                <a:gd name="connsiteY11" fmla="*/ 179291 h 549400"/>
                <a:gd name="connsiteX12" fmla="*/ 1310865 w 2281163"/>
                <a:gd name="connsiteY12" fmla="*/ 157520 h 549400"/>
                <a:gd name="connsiteX13" fmla="*/ 1349420 w 2281163"/>
                <a:gd name="connsiteY13" fmla="*/ 157520 h 549400"/>
                <a:gd name="connsiteX14" fmla="*/ 1349420 w 2281163"/>
                <a:gd name="connsiteY14" fmla="*/ 414932 h 549400"/>
                <a:gd name="connsiteX15" fmla="*/ 1380264 w 2281163"/>
                <a:gd name="connsiteY15" fmla="*/ 493052 h 549400"/>
                <a:gd name="connsiteX16" fmla="*/ 1449662 w 2281163"/>
                <a:gd name="connsiteY16" fmla="*/ 514823 h 549400"/>
                <a:gd name="connsiteX17" fmla="*/ 1535768 w 2281163"/>
                <a:gd name="connsiteY17" fmla="*/ 475122 h 549400"/>
                <a:gd name="connsiteX18" fmla="*/ 1564042 w 2281163"/>
                <a:gd name="connsiteY18" fmla="*/ 390599 h 549400"/>
                <a:gd name="connsiteX19" fmla="*/ 1564042 w 2281163"/>
                <a:gd name="connsiteY19" fmla="*/ 157520 h 549400"/>
                <a:gd name="connsiteX20" fmla="*/ 1603882 w 2281163"/>
                <a:gd name="connsiteY20" fmla="*/ 157520 h 549400"/>
                <a:gd name="connsiteX21" fmla="*/ 1603882 w 2281163"/>
                <a:gd name="connsiteY21" fmla="*/ 537875 h 549400"/>
                <a:gd name="connsiteX22" fmla="*/ 1571752 w 2281163"/>
                <a:gd name="connsiteY22" fmla="*/ 537875 h 549400"/>
                <a:gd name="connsiteX23" fmla="*/ 1566611 w 2281163"/>
                <a:gd name="connsiteY23" fmla="*/ 477683 h 549400"/>
                <a:gd name="connsiteX24" fmla="*/ 1507494 w 2281163"/>
                <a:gd name="connsiteY24" fmla="*/ 534033 h 549400"/>
                <a:gd name="connsiteX25" fmla="*/ 1441951 w 2281163"/>
                <a:gd name="connsiteY25" fmla="*/ 549400 h 549400"/>
                <a:gd name="connsiteX26" fmla="*/ 1344279 w 2281163"/>
                <a:gd name="connsiteY26" fmla="*/ 510981 h 549400"/>
                <a:gd name="connsiteX27" fmla="*/ 1310865 w 2281163"/>
                <a:gd name="connsiteY27" fmla="*/ 414932 h 549400"/>
                <a:gd name="connsiteX28" fmla="*/ 2108951 w 2281163"/>
                <a:gd name="connsiteY28" fmla="*/ 148555 h 549400"/>
                <a:gd name="connsiteX29" fmla="*/ 2237468 w 2281163"/>
                <a:gd name="connsiteY29" fmla="*/ 207465 h 549400"/>
                <a:gd name="connsiteX30" fmla="*/ 2281163 w 2281163"/>
                <a:gd name="connsiteY30" fmla="*/ 359863 h 549400"/>
                <a:gd name="connsiteX31" fmla="*/ 1975295 w 2281163"/>
                <a:gd name="connsiteY31" fmla="*/ 359863 h 549400"/>
                <a:gd name="connsiteX32" fmla="*/ 2024131 w 2281163"/>
                <a:gd name="connsiteY32" fmla="*/ 484087 h 549400"/>
                <a:gd name="connsiteX33" fmla="*/ 2116663 w 2281163"/>
                <a:gd name="connsiteY33" fmla="*/ 517384 h 549400"/>
                <a:gd name="connsiteX34" fmla="*/ 2193772 w 2281163"/>
                <a:gd name="connsiteY34" fmla="*/ 493051 h 549400"/>
                <a:gd name="connsiteX35" fmla="*/ 2232327 w 2281163"/>
                <a:gd name="connsiteY35" fmla="*/ 434141 h 549400"/>
                <a:gd name="connsiteX36" fmla="*/ 2273453 w 2281163"/>
                <a:gd name="connsiteY36" fmla="*/ 434141 h 549400"/>
                <a:gd name="connsiteX37" fmla="*/ 2213050 w 2281163"/>
                <a:gd name="connsiteY37" fmla="*/ 521225 h 549400"/>
                <a:gd name="connsiteX38" fmla="*/ 2115378 w 2281163"/>
                <a:gd name="connsiteY38" fmla="*/ 549400 h 549400"/>
                <a:gd name="connsiteX39" fmla="*/ 1980436 w 2281163"/>
                <a:gd name="connsiteY39" fmla="*/ 490490 h 549400"/>
                <a:gd name="connsiteX40" fmla="*/ 1935455 w 2281163"/>
                <a:gd name="connsiteY40" fmla="*/ 348337 h 549400"/>
                <a:gd name="connsiteX41" fmla="*/ 1992002 w 2281163"/>
                <a:gd name="connsiteY41" fmla="*/ 193378 h 549400"/>
                <a:gd name="connsiteX42" fmla="*/ 2108951 w 2281163"/>
                <a:gd name="connsiteY42" fmla="*/ 148555 h 549400"/>
                <a:gd name="connsiteX43" fmla="*/ 1065399 w 2281163"/>
                <a:gd name="connsiteY43" fmla="*/ 148555 h 549400"/>
                <a:gd name="connsiteX44" fmla="*/ 1173353 w 2281163"/>
                <a:gd name="connsiteY44" fmla="*/ 184413 h 549400"/>
                <a:gd name="connsiteX45" fmla="*/ 1219619 w 2281163"/>
                <a:gd name="connsiteY45" fmla="*/ 265095 h 549400"/>
                <a:gd name="connsiteX46" fmla="*/ 1175923 w 2281163"/>
                <a:gd name="connsiteY46" fmla="*/ 265095 h 549400"/>
                <a:gd name="connsiteX47" fmla="*/ 1134798 w 2281163"/>
                <a:gd name="connsiteY47" fmla="*/ 201062 h 549400"/>
                <a:gd name="connsiteX48" fmla="*/ 1065399 w 2281163"/>
                <a:gd name="connsiteY48" fmla="*/ 181852 h 549400"/>
                <a:gd name="connsiteX49" fmla="*/ 967727 w 2281163"/>
                <a:gd name="connsiteY49" fmla="*/ 230517 h 549400"/>
                <a:gd name="connsiteX50" fmla="*/ 934313 w 2281163"/>
                <a:gd name="connsiteY50" fmla="*/ 354740 h 549400"/>
                <a:gd name="connsiteX51" fmla="*/ 978008 w 2281163"/>
                <a:gd name="connsiteY51" fmla="*/ 482806 h 549400"/>
                <a:gd name="connsiteX52" fmla="*/ 1064114 w 2281163"/>
                <a:gd name="connsiteY52" fmla="*/ 517384 h 549400"/>
                <a:gd name="connsiteX53" fmla="*/ 1143794 w 2281163"/>
                <a:gd name="connsiteY53" fmla="*/ 489210 h 549400"/>
                <a:gd name="connsiteX54" fmla="*/ 1181064 w 2281163"/>
                <a:gd name="connsiteY54" fmla="*/ 426457 h 549400"/>
                <a:gd name="connsiteX55" fmla="*/ 1222189 w 2281163"/>
                <a:gd name="connsiteY55" fmla="*/ 426457 h 549400"/>
                <a:gd name="connsiteX56" fmla="*/ 1165642 w 2281163"/>
                <a:gd name="connsiteY56" fmla="*/ 518664 h 549400"/>
                <a:gd name="connsiteX57" fmla="*/ 1065399 w 2281163"/>
                <a:gd name="connsiteY57" fmla="*/ 549400 h 549400"/>
                <a:gd name="connsiteX58" fmla="*/ 939453 w 2281163"/>
                <a:gd name="connsiteY58" fmla="*/ 491770 h 549400"/>
                <a:gd name="connsiteX59" fmla="*/ 895758 w 2281163"/>
                <a:gd name="connsiteY59" fmla="*/ 352179 h 549400"/>
                <a:gd name="connsiteX60" fmla="*/ 951020 w 2281163"/>
                <a:gd name="connsiteY60" fmla="*/ 193378 h 549400"/>
                <a:gd name="connsiteX61" fmla="*/ 1065399 w 2281163"/>
                <a:gd name="connsiteY61" fmla="*/ 148555 h 549400"/>
                <a:gd name="connsiteX62" fmla="*/ 651576 w 2281163"/>
                <a:gd name="connsiteY62" fmla="*/ 148555 h 549400"/>
                <a:gd name="connsiteX63" fmla="*/ 780092 w 2281163"/>
                <a:gd name="connsiteY63" fmla="*/ 207465 h 549400"/>
                <a:gd name="connsiteX64" fmla="*/ 823788 w 2281163"/>
                <a:gd name="connsiteY64" fmla="*/ 359863 h 549400"/>
                <a:gd name="connsiteX65" fmla="*/ 517920 w 2281163"/>
                <a:gd name="connsiteY65" fmla="*/ 359863 h 549400"/>
                <a:gd name="connsiteX66" fmla="*/ 566756 w 2281163"/>
                <a:gd name="connsiteY66" fmla="*/ 484087 h 549400"/>
                <a:gd name="connsiteX67" fmla="*/ 659288 w 2281163"/>
                <a:gd name="connsiteY67" fmla="*/ 517384 h 549400"/>
                <a:gd name="connsiteX68" fmla="*/ 736397 w 2281163"/>
                <a:gd name="connsiteY68" fmla="*/ 493051 h 549400"/>
                <a:gd name="connsiteX69" fmla="*/ 774952 w 2281163"/>
                <a:gd name="connsiteY69" fmla="*/ 434141 h 549400"/>
                <a:gd name="connsiteX70" fmla="*/ 816077 w 2281163"/>
                <a:gd name="connsiteY70" fmla="*/ 434141 h 549400"/>
                <a:gd name="connsiteX71" fmla="*/ 755674 w 2281163"/>
                <a:gd name="connsiteY71" fmla="*/ 521225 h 549400"/>
                <a:gd name="connsiteX72" fmla="*/ 658002 w 2281163"/>
                <a:gd name="connsiteY72" fmla="*/ 549400 h 549400"/>
                <a:gd name="connsiteX73" fmla="*/ 523061 w 2281163"/>
                <a:gd name="connsiteY73" fmla="*/ 490490 h 549400"/>
                <a:gd name="connsiteX74" fmla="*/ 478080 w 2281163"/>
                <a:gd name="connsiteY74" fmla="*/ 348337 h 549400"/>
                <a:gd name="connsiteX75" fmla="*/ 534626 w 2281163"/>
                <a:gd name="connsiteY75" fmla="*/ 193378 h 549400"/>
                <a:gd name="connsiteX76" fmla="*/ 651576 w 2281163"/>
                <a:gd name="connsiteY76" fmla="*/ 148555 h 549400"/>
                <a:gd name="connsiteX77" fmla="*/ 1859629 w 2281163"/>
                <a:gd name="connsiteY77" fmla="*/ 145994 h 549400"/>
                <a:gd name="connsiteX78" fmla="*/ 1899469 w 2281163"/>
                <a:gd name="connsiteY78" fmla="*/ 152397 h 549400"/>
                <a:gd name="connsiteX79" fmla="*/ 1899469 w 2281163"/>
                <a:gd name="connsiteY79" fmla="*/ 190817 h 549400"/>
                <a:gd name="connsiteX80" fmla="*/ 1858343 w 2281163"/>
                <a:gd name="connsiteY80" fmla="*/ 184414 h 549400"/>
                <a:gd name="connsiteX81" fmla="*/ 1782519 w 2281163"/>
                <a:gd name="connsiteY81" fmla="*/ 227956 h 549400"/>
                <a:gd name="connsiteX82" fmla="*/ 1755531 w 2281163"/>
                <a:gd name="connsiteY82" fmla="*/ 329128 h 549400"/>
                <a:gd name="connsiteX83" fmla="*/ 1755531 w 2281163"/>
                <a:gd name="connsiteY83" fmla="*/ 537874 h 549400"/>
                <a:gd name="connsiteX84" fmla="*/ 1754246 w 2281163"/>
                <a:gd name="connsiteY84" fmla="*/ 537874 h 549400"/>
                <a:gd name="connsiteX85" fmla="*/ 1714406 w 2281163"/>
                <a:gd name="connsiteY85" fmla="*/ 537874 h 549400"/>
                <a:gd name="connsiteX86" fmla="*/ 1714406 w 2281163"/>
                <a:gd name="connsiteY86" fmla="*/ 157520 h 549400"/>
                <a:gd name="connsiteX87" fmla="*/ 1746534 w 2281163"/>
                <a:gd name="connsiteY87" fmla="*/ 157520 h 549400"/>
                <a:gd name="connsiteX88" fmla="*/ 1752960 w 2281163"/>
                <a:gd name="connsiteY88" fmla="*/ 230518 h 549400"/>
                <a:gd name="connsiteX89" fmla="*/ 1859629 w 2281163"/>
                <a:gd name="connsiteY89" fmla="*/ 145994 h 549400"/>
                <a:gd name="connsiteX90" fmla="*/ 204340 w 2281163"/>
                <a:gd name="connsiteY90" fmla="*/ 0 h 549400"/>
                <a:gd name="connsiteX91" fmla="*/ 343138 w 2281163"/>
                <a:gd name="connsiteY91" fmla="*/ 39700 h 549400"/>
                <a:gd name="connsiteX92" fmla="*/ 402256 w 2281163"/>
                <a:gd name="connsiteY92" fmla="*/ 131907 h 549400"/>
                <a:gd name="connsiteX93" fmla="*/ 359845 w 2281163"/>
                <a:gd name="connsiteY93" fmla="*/ 131907 h 549400"/>
                <a:gd name="connsiteX94" fmla="*/ 303298 w 2281163"/>
                <a:gd name="connsiteY94" fmla="*/ 57630 h 549400"/>
                <a:gd name="connsiteX95" fmla="*/ 204340 w 2281163"/>
                <a:gd name="connsiteY95" fmla="*/ 34577 h 549400"/>
                <a:gd name="connsiteX96" fmla="*/ 93817 w 2281163"/>
                <a:gd name="connsiteY96" fmla="*/ 64033 h 549400"/>
                <a:gd name="connsiteX97" fmla="*/ 64258 w 2281163"/>
                <a:gd name="connsiteY97" fmla="*/ 126784 h 549400"/>
                <a:gd name="connsiteX98" fmla="*/ 97672 w 2281163"/>
                <a:gd name="connsiteY98" fmla="*/ 198501 h 549400"/>
                <a:gd name="connsiteX99" fmla="*/ 213336 w 2281163"/>
                <a:gd name="connsiteY99" fmla="*/ 240762 h 549400"/>
                <a:gd name="connsiteX100" fmla="*/ 366271 w 2281163"/>
                <a:gd name="connsiteY100" fmla="*/ 307356 h 549400"/>
                <a:gd name="connsiteX101" fmla="*/ 402256 w 2281163"/>
                <a:gd name="connsiteY101" fmla="*/ 400845 h 549400"/>
                <a:gd name="connsiteX102" fmla="*/ 344423 w 2281163"/>
                <a:gd name="connsiteY102" fmla="*/ 509700 h 549400"/>
                <a:gd name="connsiteX103" fmla="*/ 205626 w 2281163"/>
                <a:gd name="connsiteY103" fmla="*/ 546839 h 549400"/>
                <a:gd name="connsiteX104" fmla="*/ 61687 w 2281163"/>
                <a:gd name="connsiteY104" fmla="*/ 503297 h 549400"/>
                <a:gd name="connsiteX105" fmla="*/ 0 w 2281163"/>
                <a:gd name="connsiteY105" fmla="*/ 400845 h 549400"/>
                <a:gd name="connsiteX106" fmla="*/ 43695 w 2281163"/>
                <a:gd name="connsiteY106" fmla="*/ 400845 h 549400"/>
                <a:gd name="connsiteX107" fmla="*/ 104098 w 2281163"/>
                <a:gd name="connsiteY107" fmla="*/ 486649 h 549400"/>
                <a:gd name="connsiteX108" fmla="*/ 205626 w 2281163"/>
                <a:gd name="connsiteY108" fmla="*/ 510980 h 549400"/>
                <a:gd name="connsiteX109" fmla="*/ 325145 w 2281163"/>
                <a:gd name="connsiteY109" fmla="*/ 476403 h 549400"/>
                <a:gd name="connsiteX110" fmla="*/ 362416 w 2281163"/>
                <a:gd name="connsiteY110" fmla="*/ 403406 h 549400"/>
                <a:gd name="connsiteX111" fmla="*/ 322575 w 2281163"/>
                <a:gd name="connsiteY111" fmla="*/ 322725 h 549400"/>
                <a:gd name="connsiteX112" fmla="*/ 186348 w 2281163"/>
                <a:gd name="connsiteY112" fmla="*/ 274059 h 549400"/>
                <a:gd name="connsiteX113" fmla="*/ 55262 w 2281163"/>
                <a:gd name="connsiteY113" fmla="*/ 215150 h 549400"/>
                <a:gd name="connsiteX114" fmla="*/ 23132 w 2281163"/>
                <a:gd name="connsiteY114" fmla="*/ 129346 h 549400"/>
                <a:gd name="connsiteX115" fmla="*/ 75824 w 2281163"/>
                <a:gd name="connsiteY115" fmla="*/ 32016 h 549400"/>
                <a:gd name="connsiteX116" fmla="*/ 204340 w 2281163"/>
                <a:gd name="connsiteY116" fmla="*/ 0 h 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281163" h="549400">
                  <a:moveTo>
                    <a:pt x="2108951" y="179291"/>
                  </a:moveTo>
                  <a:cubicBezTo>
                    <a:pt x="2070397" y="179291"/>
                    <a:pt x="2038268" y="193378"/>
                    <a:pt x="2013850" y="221552"/>
                  </a:cubicBezTo>
                  <a:cubicBezTo>
                    <a:pt x="1992002" y="247166"/>
                    <a:pt x="1979151" y="281743"/>
                    <a:pt x="1975295" y="324005"/>
                  </a:cubicBezTo>
                  <a:lnTo>
                    <a:pt x="2238753" y="324005"/>
                  </a:lnTo>
                  <a:cubicBezTo>
                    <a:pt x="2236182" y="274059"/>
                    <a:pt x="2220761" y="235639"/>
                    <a:pt x="2193772" y="210026"/>
                  </a:cubicBezTo>
                  <a:cubicBezTo>
                    <a:pt x="2171924" y="189536"/>
                    <a:pt x="2143651" y="179291"/>
                    <a:pt x="2108951" y="179291"/>
                  </a:cubicBezTo>
                  <a:close/>
                  <a:moveTo>
                    <a:pt x="651576" y="179291"/>
                  </a:moveTo>
                  <a:cubicBezTo>
                    <a:pt x="613021" y="179291"/>
                    <a:pt x="580893" y="193378"/>
                    <a:pt x="556475" y="221552"/>
                  </a:cubicBezTo>
                  <a:cubicBezTo>
                    <a:pt x="534626" y="247166"/>
                    <a:pt x="521775" y="281743"/>
                    <a:pt x="517920" y="324005"/>
                  </a:cubicBezTo>
                  <a:lnTo>
                    <a:pt x="781378" y="324005"/>
                  </a:lnTo>
                  <a:cubicBezTo>
                    <a:pt x="778807" y="274059"/>
                    <a:pt x="763386" y="235639"/>
                    <a:pt x="736397" y="210026"/>
                  </a:cubicBezTo>
                  <a:cubicBezTo>
                    <a:pt x="714550" y="189536"/>
                    <a:pt x="684991" y="179291"/>
                    <a:pt x="651576" y="179291"/>
                  </a:cubicBezTo>
                  <a:close/>
                  <a:moveTo>
                    <a:pt x="1310865" y="157520"/>
                  </a:moveTo>
                  <a:lnTo>
                    <a:pt x="1349420" y="157520"/>
                  </a:lnTo>
                  <a:lnTo>
                    <a:pt x="1349420" y="414932"/>
                  </a:lnTo>
                  <a:cubicBezTo>
                    <a:pt x="1349420" y="449509"/>
                    <a:pt x="1359701" y="476403"/>
                    <a:pt x="1380264" y="493052"/>
                  </a:cubicBezTo>
                  <a:cubicBezTo>
                    <a:pt x="1396971" y="507139"/>
                    <a:pt x="1420103" y="514823"/>
                    <a:pt x="1449662" y="514823"/>
                  </a:cubicBezTo>
                  <a:cubicBezTo>
                    <a:pt x="1484361" y="514823"/>
                    <a:pt x="1513920" y="502016"/>
                    <a:pt x="1535768" y="475122"/>
                  </a:cubicBezTo>
                  <a:cubicBezTo>
                    <a:pt x="1553760" y="452071"/>
                    <a:pt x="1564042" y="423896"/>
                    <a:pt x="1564042" y="390599"/>
                  </a:cubicBezTo>
                  <a:lnTo>
                    <a:pt x="1564042" y="157520"/>
                  </a:lnTo>
                  <a:lnTo>
                    <a:pt x="1603882" y="157520"/>
                  </a:lnTo>
                  <a:lnTo>
                    <a:pt x="1603882" y="537875"/>
                  </a:lnTo>
                  <a:lnTo>
                    <a:pt x="1571752" y="537875"/>
                  </a:lnTo>
                  <a:lnTo>
                    <a:pt x="1566611" y="477683"/>
                  </a:lnTo>
                  <a:cubicBezTo>
                    <a:pt x="1552475" y="502016"/>
                    <a:pt x="1533197" y="521226"/>
                    <a:pt x="1507494" y="534033"/>
                  </a:cubicBezTo>
                  <a:cubicBezTo>
                    <a:pt x="1486932" y="544278"/>
                    <a:pt x="1465084" y="549400"/>
                    <a:pt x="1441951" y="549400"/>
                  </a:cubicBezTo>
                  <a:cubicBezTo>
                    <a:pt x="1399541" y="549400"/>
                    <a:pt x="1367412" y="536594"/>
                    <a:pt x="1344279" y="510981"/>
                  </a:cubicBezTo>
                  <a:cubicBezTo>
                    <a:pt x="1322431" y="487929"/>
                    <a:pt x="1310865" y="455913"/>
                    <a:pt x="1310865" y="414932"/>
                  </a:cubicBezTo>
                  <a:close/>
                  <a:moveTo>
                    <a:pt x="2108951" y="148555"/>
                  </a:moveTo>
                  <a:cubicBezTo>
                    <a:pt x="2164214" y="148555"/>
                    <a:pt x="2206624" y="167765"/>
                    <a:pt x="2237468" y="207465"/>
                  </a:cubicBezTo>
                  <a:cubicBezTo>
                    <a:pt x="2265741" y="243323"/>
                    <a:pt x="2281163" y="294550"/>
                    <a:pt x="2281163" y="359863"/>
                  </a:cubicBezTo>
                  <a:lnTo>
                    <a:pt x="1975295" y="359863"/>
                  </a:lnTo>
                  <a:cubicBezTo>
                    <a:pt x="1977865" y="414931"/>
                    <a:pt x="1993287" y="455912"/>
                    <a:pt x="2024131" y="484087"/>
                  </a:cubicBezTo>
                  <a:cubicBezTo>
                    <a:pt x="2048550" y="505857"/>
                    <a:pt x="2080678" y="517384"/>
                    <a:pt x="2116663" y="517384"/>
                  </a:cubicBezTo>
                  <a:cubicBezTo>
                    <a:pt x="2147507" y="517384"/>
                    <a:pt x="2173210" y="509700"/>
                    <a:pt x="2193772" y="493051"/>
                  </a:cubicBezTo>
                  <a:cubicBezTo>
                    <a:pt x="2213050" y="476403"/>
                    <a:pt x="2225901" y="457193"/>
                    <a:pt x="2232327" y="434141"/>
                  </a:cubicBezTo>
                  <a:lnTo>
                    <a:pt x="2273453" y="434141"/>
                  </a:lnTo>
                  <a:cubicBezTo>
                    <a:pt x="2263171" y="471280"/>
                    <a:pt x="2243894" y="500735"/>
                    <a:pt x="2213050" y="521225"/>
                  </a:cubicBezTo>
                  <a:cubicBezTo>
                    <a:pt x="2186062" y="539154"/>
                    <a:pt x="2152647" y="549400"/>
                    <a:pt x="2115378" y="549400"/>
                  </a:cubicBezTo>
                  <a:cubicBezTo>
                    <a:pt x="2058831" y="549400"/>
                    <a:pt x="2012565" y="530190"/>
                    <a:pt x="1980436" y="490490"/>
                  </a:cubicBezTo>
                  <a:cubicBezTo>
                    <a:pt x="1949592" y="454631"/>
                    <a:pt x="1935455" y="407247"/>
                    <a:pt x="1935455" y="348337"/>
                  </a:cubicBezTo>
                  <a:cubicBezTo>
                    <a:pt x="1935455" y="281743"/>
                    <a:pt x="1954733" y="229236"/>
                    <a:pt x="1992002" y="193378"/>
                  </a:cubicBezTo>
                  <a:cubicBezTo>
                    <a:pt x="2022846" y="162642"/>
                    <a:pt x="2061401" y="148555"/>
                    <a:pt x="2108951" y="148555"/>
                  </a:cubicBezTo>
                  <a:close/>
                  <a:moveTo>
                    <a:pt x="1065399" y="148555"/>
                  </a:moveTo>
                  <a:cubicBezTo>
                    <a:pt x="1109094" y="148555"/>
                    <a:pt x="1145079" y="160081"/>
                    <a:pt x="1173353" y="184413"/>
                  </a:cubicBezTo>
                  <a:cubicBezTo>
                    <a:pt x="1197771" y="204904"/>
                    <a:pt x="1213193" y="231798"/>
                    <a:pt x="1219619" y="265095"/>
                  </a:cubicBezTo>
                  <a:lnTo>
                    <a:pt x="1175923" y="265095"/>
                  </a:lnTo>
                  <a:cubicBezTo>
                    <a:pt x="1170783" y="238201"/>
                    <a:pt x="1157931" y="216430"/>
                    <a:pt x="1134798" y="201062"/>
                  </a:cubicBezTo>
                  <a:cubicBezTo>
                    <a:pt x="1115520" y="188255"/>
                    <a:pt x="1092388" y="181852"/>
                    <a:pt x="1065399" y="181852"/>
                  </a:cubicBezTo>
                  <a:cubicBezTo>
                    <a:pt x="1024274" y="181852"/>
                    <a:pt x="990860" y="198501"/>
                    <a:pt x="967727" y="230517"/>
                  </a:cubicBezTo>
                  <a:cubicBezTo>
                    <a:pt x="945879" y="261253"/>
                    <a:pt x="934313" y="302233"/>
                    <a:pt x="934313" y="354740"/>
                  </a:cubicBezTo>
                  <a:cubicBezTo>
                    <a:pt x="934313" y="411089"/>
                    <a:pt x="948449" y="454631"/>
                    <a:pt x="978008" y="482806"/>
                  </a:cubicBezTo>
                  <a:cubicBezTo>
                    <a:pt x="1001141" y="505857"/>
                    <a:pt x="1029415" y="517384"/>
                    <a:pt x="1064114" y="517384"/>
                  </a:cubicBezTo>
                  <a:cubicBezTo>
                    <a:pt x="1096243" y="517384"/>
                    <a:pt x="1121947" y="508418"/>
                    <a:pt x="1143794" y="489210"/>
                  </a:cubicBezTo>
                  <a:cubicBezTo>
                    <a:pt x="1165642" y="471280"/>
                    <a:pt x="1177208" y="450790"/>
                    <a:pt x="1181064" y="426457"/>
                  </a:cubicBezTo>
                  <a:lnTo>
                    <a:pt x="1222189" y="426457"/>
                  </a:lnTo>
                  <a:cubicBezTo>
                    <a:pt x="1215763" y="464877"/>
                    <a:pt x="1196485" y="495612"/>
                    <a:pt x="1165642" y="518664"/>
                  </a:cubicBezTo>
                  <a:cubicBezTo>
                    <a:pt x="1137368" y="539154"/>
                    <a:pt x="1103954" y="549400"/>
                    <a:pt x="1065399" y="549400"/>
                  </a:cubicBezTo>
                  <a:cubicBezTo>
                    <a:pt x="1012707" y="549400"/>
                    <a:pt x="970297" y="530190"/>
                    <a:pt x="939453" y="491770"/>
                  </a:cubicBezTo>
                  <a:cubicBezTo>
                    <a:pt x="911180" y="457193"/>
                    <a:pt x="895758" y="409809"/>
                    <a:pt x="895758" y="352179"/>
                  </a:cubicBezTo>
                  <a:cubicBezTo>
                    <a:pt x="895758" y="283023"/>
                    <a:pt x="913750" y="230517"/>
                    <a:pt x="951020" y="193378"/>
                  </a:cubicBezTo>
                  <a:cubicBezTo>
                    <a:pt x="981863" y="163923"/>
                    <a:pt x="1019134" y="148555"/>
                    <a:pt x="1065399" y="148555"/>
                  </a:cubicBezTo>
                  <a:close/>
                  <a:moveTo>
                    <a:pt x="651576" y="148555"/>
                  </a:moveTo>
                  <a:cubicBezTo>
                    <a:pt x="706838" y="148555"/>
                    <a:pt x="749248" y="167765"/>
                    <a:pt x="780092" y="207465"/>
                  </a:cubicBezTo>
                  <a:cubicBezTo>
                    <a:pt x="808366" y="243323"/>
                    <a:pt x="823788" y="294550"/>
                    <a:pt x="823788" y="359863"/>
                  </a:cubicBezTo>
                  <a:lnTo>
                    <a:pt x="517920" y="359863"/>
                  </a:lnTo>
                  <a:cubicBezTo>
                    <a:pt x="520490" y="414931"/>
                    <a:pt x="535912" y="455912"/>
                    <a:pt x="566756" y="484087"/>
                  </a:cubicBezTo>
                  <a:cubicBezTo>
                    <a:pt x="591174" y="505857"/>
                    <a:pt x="623303" y="517384"/>
                    <a:pt x="659288" y="517384"/>
                  </a:cubicBezTo>
                  <a:cubicBezTo>
                    <a:pt x="690132" y="517384"/>
                    <a:pt x="715834" y="509700"/>
                    <a:pt x="736397" y="493051"/>
                  </a:cubicBezTo>
                  <a:cubicBezTo>
                    <a:pt x="755674" y="476403"/>
                    <a:pt x="768527" y="457193"/>
                    <a:pt x="774952" y="434141"/>
                  </a:cubicBezTo>
                  <a:lnTo>
                    <a:pt x="816077" y="434141"/>
                  </a:lnTo>
                  <a:cubicBezTo>
                    <a:pt x="805796" y="471280"/>
                    <a:pt x="786518" y="500735"/>
                    <a:pt x="755674" y="521225"/>
                  </a:cubicBezTo>
                  <a:cubicBezTo>
                    <a:pt x="728686" y="539154"/>
                    <a:pt x="695272" y="549400"/>
                    <a:pt x="658002" y="549400"/>
                  </a:cubicBezTo>
                  <a:cubicBezTo>
                    <a:pt x="601455" y="549400"/>
                    <a:pt x="555189" y="530190"/>
                    <a:pt x="523061" y="490490"/>
                  </a:cubicBezTo>
                  <a:cubicBezTo>
                    <a:pt x="492216" y="454631"/>
                    <a:pt x="478080" y="407247"/>
                    <a:pt x="478080" y="348337"/>
                  </a:cubicBezTo>
                  <a:cubicBezTo>
                    <a:pt x="478080" y="281743"/>
                    <a:pt x="497357" y="229236"/>
                    <a:pt x="534626" y="193378"/>
                  </a:cubicBezTo>
                  <a:cubicBezTo>
                    <a:pt x="565471" y="162642"/>
                    <a:pt x="604025" y="148555"/>
                    <a:pt x="651576" y="148555"/>
                  </a:cubicBezTo>
                  <a:close/>
                  <a:moveTo>
                    <a:pt x="1859629" y="145994"/>
                  </a:moveTo>
                  <a:cubicBezTo>
                    <a:pt x="1873765" y="145994"/>
                    <a:pt x="1887902" y="148555"/>
                    <a:pt x="1899469" y="152397"/>
                  </a:cubicBezTo>
                  <a:lnTo>
                    <a:pt x="1899469" y="190817"/>
                  </a:lnTo>
                  <a:cubicBezTo>
                    <a:pt x="1884047" y="186975"/>
                    <a:pt x="1869910" y="184414"/>
                    <a:pt x="1858343" y="184414"/>
                  </a:cubicBezTo>
                  <a:cubicBezTo>
                    <a:pt x="1827500" y="184414"/>
                    <a:pt x="1801797" y="198501"/>
                    <a:pt x="1782519" y="227956"/>
                  </a:cubicBezTo>
                  <a:cubicBezTo>
                    <a:pt x="1764527" y="254849"/>
                    <a:pt x="1755531" y="288146"/>
                    <a:pt x="1755531" y="329128"/>
                  </a:cubicBezTo>
                  <a:lnTo>
                    <a:pt x="1755531" y="537874"/>
                  </a:lnTo>
                  <a:lnTo>
                    <a:pt x="1754246" y="537874"/>
                  </a:lnTo>
                  <a:lnTo>
                    <a:pt x="1714406" y="537874"/>
                  </a:lnTo>
                  <a:lnTo>
                    <a:pt x="1714406" y="157520"/>
                  </a:lnTo>
                  <a:lnTo>
                    <a:pt x="1746534" y="157520"/>
                  </a:lnTo>
                  <a:lnTo>
                    <a:pt x="1752960" y="230518"/>
                  </a:lnTo>
                  <a:cubicBezTo>
                    <a:pt x="1773523" y="174168"/>
                    <a:pt x="1808223" y="145994"/>
                    <a:pt x="1859629" y="145994"/>
                  </a:cubicBezTo>
                  <a:close/>
                  <a:moveTo>
                    <a:pt x="204340" y="0"/>
                  </a:moveTo>
                  <a:cubicBezTo>
                    <a:pt x="260888" y="0"/>
                    <a:pt x="307153" y="12806"/>
                    <a:pt x="343138" y="39700"/>
                  </a:cubicBezTo>
                  <a:cubicBezTo>
                    <a:pt x="375267" y="62751"/>
                    <a:pt x="394544" y="93487"/>
                    <a:pt x="402256" y="131907"/>
                  </a:cubicBezTo>
                  <a:lnTo>
                    <a:pt x="359845" y="131907"/>
                  </a:lnTo>
                  <a:cubicBezTo>
                    <a:pt x="352134" y="99891"/>
                    <a:pt x="334142" y="75558"/>
                    <a:pt x="303298" y="57630"/>
                  </a:cubicBezTo>
                  <a:cubicBezTo>
                    <a:pt x="276309" y="42261"/>
                    <a:pt x="244180" y="34577"/>
                    <a:pt x="204340" y="34577"/>
                  </a:cubicBezTo>
                  <a:cubicBezTo>
                    <a:pt x="155504" y="34577"/>
                    <a:pt x="118235" y="44823"/>
                    <a:pt x="93817" y="64033"/>
                  </a:cubicBezTo>
                  <a:cubicBezTo>
                    <a:pt x="73254" y="80681"/>
                    <a:pt x="64258" y="101171"/>
                    <a:pt x="64258" y="126784"/>
                  </a:cubicBezTo>
                  <a:cubicBezTo>
                    <a:pt x="64258" y="157521"/>
                    <a:pt x="75824" y="181853"/>
                    <a:pt x="97672" y="198501"/>
                  </a:cubicBezTo>
                  <a:cubicBezTo>
                    <a:pt x="119520" y="215150"/>
                    <a:pt x="158075" y="229237"/>
                    <a:pt x="213336" y="240762"/>
                  </a:cubicBezTo>
                  <a:cubicBezTo>
                    <a:pt x="286591" y="257411"/>
                    <a:pt x="337998" y="280463"/>
                    <a:pt x="366271" y="307356"/>
                  </a:cubicBezTo>
                  <a:cubicBezTo>
                    <a:pt x="390689" y="330409"/>
                    <a:pt x="402256" y="362425"/>
                    <a:pt x="402256" y="400845"/>
                  </a:cubicBezTo>
                  <a:cubicBezTo>
                    <a:pt x="402256" y="446948"/>
                    <a:pt x="382978" y="482806"/>
                    <a:pt x="344423" y="509700"/>
                  </a:cubicBezTo>
                  <a:cubicBezTo>
                    <a:pt x="309724" y="534033"/>
                    <a:pt x="263458" y="546839"/>
                    <a:pt x="205626" y="546839"/>
                  </a:cubicBezTo>
                  <a:cubicBezTo>
                    <a:pt x="146508" y="546839"/>
                    <a:pt x="98957" y="532752"/>
                    <a:pt x="61687" y="503297"/>
                  </a:cubicBezTo>
                  <a:cubicBezTo>
                    <a:pt x="28273" y="477683"/>
                    <a:pt x="7710" y="444386"/>
                    <a:pt x="0" y="400845"/>
                  </a:cubicBezTo>
                  <a:lnTo>
                    <a:pt x="43695" y="400845"/>
                  </a:lnTo>
                  <a:cubicBezTo>
                    <a:pt x="51406" y="439264"/>
                    <a:pt x="70684" y="467439"/>
                    <a:pt x="104098" y="486649"/>
                  </a:cubicBezTo>
                  <a:cubicBezTo>
                    <a:pt x="131086" y="503297"/>
                    <a:pt x="165786" y="510980"/>
                    <a:pt x="205626" y="510980"/>
                  </a:cubicBezTo>
                  <a:cubicBezTo>
                    <a:pt x="258317" y="510980"/>
                    <a:pt x="298157" y="499455"/>
                    <a:pt x="325145" y="476403"/>
                  </a:cubicBezTo>
                  <a:cubicBezTo>
                    <a:pt x="350849" y="458473"/>
                    <a:pt x="362416" y="434142"/>
                    <a:pt x="362416" y="403406"/>
                  </a:cubicBezTo>
                  <a:cubicBezTo>
                    <a:pt x="362416" y="367548"/>
                    <a:pt x="349563" y="340654"/>
                    <a:pt x="322575" y="322725"/>
                  </a:cubicBezTo>
                  <a:cubicBezTo>
                    <a:pt x="296872" y="304795"/>
                    <a:pt x="251891" y="288147"/>
                    <a:pt x="186348" y="274059"/>
                  </a:cubicBezTo>
                  <a:cubicBezTo>
                    <a:pt x="124660" y="259972"/>
                    <a:pt x="80965" y="240762"/>
                    <a:pt x="55262" y="215150"/>
                  </a:cubicBezTo>
                  <a:cubicBezTo>
                    <a:pt x="34699" y="193378"/>
                    <a:pt x="23132" y="165204"/>
                    <a:pt x="23132" y="129346"/>
                  </a:cubicBezTo>
                  <a:cubicBezTo>
                    <a:pt x="23132" y="88365"/>
                    <a:pt x="41125" y="55068"/>
                    <a:pt x="75824" y="32016"/>
                  </a:cubicBezTo>
                  <a:cubicBezTo>
                    <a:pt x="107953" y="10246"/>
                    <a:pt x="151649" y="0"/>
                    <a:pt x="204340"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1" name="Freeform 6">
              <a:extLst>
                <a:ext uri="{FF2B5EF4-FFF2-40B4-BE49-F238E27FC236}">
                  <a16:creationId xmlns:a16="http://schemas.microsoft.com/office/drawing/2014/main" id="{9E5E5C1E-B8F4-504C-9E83-B106339162CD}"/>
                </a:ext>
              </a:extLst>
            </p:cNvPr>
            <p:cNvSpPr>
              <a:spLocks noChangeAspect="1" noEditPoints="1"/>
            </p:cNvSpPr>
            <p:nvPr/>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561893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Blank w/logo - blue">
    <p:bg>
      <p:bgPr>
        <a:solidFill>
          <a:schemeClr val="bg2"/>
        </a:solidFill>
        <a:effectLst/>
      </p:bgPr>
    </p:bg>
    <p:spTree>
      <p:nvGrpSpPr>
        <p:cNvPr id="1" name=""/>
        <p:cNvGrpSpPr/>
        <p:nvPr/>
      </p:nvGrpSpPr>
      <p:grpSpPr>
        <a:xfrm>
          <a:off x="0" y="0"/>
          <a:ext cx="0" cy="0"/>
          <a:chOff x="0" y="0"/>
          <a:chExt cx="0" cy="0"/>
        </a:xfrm>
      </p:grpSpPr>
      <p:pic>
        <p:nvPicPr>
          <p:cNvPr id="11" name="Picture 10" descr="A picture containing drawing, light&#10;&#10;Description automatically generated">
            <a:extLst>
              <a:ext uri="{FF2B5EF4-FFF2-40B4-BE49-F238E27FC236}">
                <a16:creationId xmlns:a16="http://schemas.microsoft.com/office/drawing/2014/main" id="{E450DC1B-CD3F-D749-AA30-7A84A8C9B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3292" y="391308"/>
            <a:ext cx="2055183" cy="423534"/>
          </a:xfrm>
          <a:prstGeom prst="rect">
            <a:avLst/>
          </a:prstGeom>
        </p:spPr>
      </p:pic>
      <p:sp>
        <p:nvSpPr>
          <p:cNvPr id="13" name="Google Shape;106;p19">
            <a:extLst>
              <a:ext uri="{FF2B5EF4-FFF2-40B4-BE49-F238E27FC236}">
                <a16:creationId xmlns:a16="http://schemas.microsoft.com/office/drawing/2014/main" id="{06B475B8-8730-1143-83E2-2D3DDA2370C1}"/>
              </a:ext>
            </a:extLst>
          </p:cNvPr>
          <p:cNvSpPr txBox="1"/>
          <p:nvPr userDrawn="1"/>
        </p:nvSpPr>
        <p:spPr>
          <a:xfrm>
            <a:off x="508478" y="474167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b="0" i="0" dirty="0">
                <a:solidFill>
                  <a:schemeClr val="tx1">
                    <a:lumMod val="50000"/>
                  </a:schemeClr>
                </a:solidFill>
                <a:latin typeface="CiscoSansTT ExtraLight" panose="020B0303020201020303" pitchFamily="34" charset="0"/>
              </a:rPr>
              <a:t>© </a:t>
            </a:r>
            <a:r>
              <a:rPr lang="en-US" b="0" i="0" dirty="0">
                <a:solidFill>
                  <a:schemeClr val="tx1">
                    <a:lumMod val="50000"/>
                  </a:schemeClr>
                </a:solidFill>
                <a:latin typeface="CiscoSansTT ExtraLight" panose="020B0303020201020303" pitchFamily="34" charset="0"/>
              </a:rPr>
              <a:t>2020</a:t>
            </a:r>
            <a:r>
              <a:rPr b="0" i="0" dirty="0">
                <a:solidFill>
                  <a:schemeClr val="tx1">
                    <a:lumMod val="50000"/>
                  </a:schemeClr>
                </a:solidFill>
                <a:latin typeface="CiscoSansTT ExtraLight" panose="020B0303020201020303" pitchFamily="34" charset="0"/>
              </a:rPr>
              <a:t>  Cisco and/or its affiliates. All rights reserved.  </a:t>
            </a:r>
          </a:p>
        </p:txBody>
      </p:sp>
    </p:spTree>
    <p:extLst>
      <p:ext uri="{BB962C8B-B14F-4D97-AF65-F5344CB8AC3E}">
        <p14:creationId xmlns:p14="http://schemas.microsoft.com/office/powerpoint/2010/main" val="377640943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dirty="0"/>
              <a:t>Presentation Title Goes Here</a:t>
            </a:r>
            <a:endParaRPr lang="en-US" dirty="0"/>
          </a:p>
        </p:txBody>
      </p:sp>
      <p:grpSp>
        <p:nvGrpSpPr>
          <p:cNvPr id="21" name="Group 20">
            <a:extLst>
              <a:ext uri="{FF2B5EF4-FFF2-40B4-BE49-F238E27FC236}">
                <a16:creationId xmlns:a16="http://schemas.microsoft.com/office/drawing/2014/main" id="{5D0B81B7-DE5C-9344-8BCA-CA8B20294463}"/>
              </a:ext>
            </a:extLst>
          </p:cNvPr>
          <p:cNvGrpSpPr/>
          <p:nvPr userDrawn="1"/>
        </p:nvGrpSpPr>
        <p:grpSpPr>
          <a:xfrm>
            <a:off x="469642" y="391308"/>
            <a:ext cx="2033863" cy="422624"/>
            <a:chOff x="469642" y="391308"/>
            <a:chExt cx="2033863" cy="422624"/>
          </a:xfrm>
        </p:grpSpPr>
        <p:sp>
          <p:nvSpPr>
            <p:cNvPr id="22" name="Freeform 21">
              <a:extLst>
                <a:ext uri="{FF2B5EF4-FFF2-40B4-BE49-F238E27FC236}">
                  <a16:creationId xmlns:a16="http://schemas.microsoft.com/office/drawing/2014/main" id="{4D4EE06C-E9F4-4642-B04E-14B291513975}"/>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3" name="Freeform 6">
              <a:extLst>
                <a:ext uri="{FF2B5EF4-FFF2-40B4-BE49-F238E27FC236}">
                  <a16:creationId xmlns:a16="http://schemas.microsoft.com/office/drawing/2014/main" id="{4E7C0BA1-F842-8748-A9DD-4D18611CEF35}"/>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4210333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ext + Collage E">
    <p:spTree>
      <p:nvGrpSpPr>
        <p:cNvPr id="1" name=""/>
        <p:cNvGrpSpPr/>
        <p:nvPr/>
      </p:nvGrpSpPr>
      <p:grpSpPr>
        <a:xfrm>
          <a:off x="0" y="0"/>
          <a:ext cx="0" cy="0"/>
          <a:chOff x="0" y="0"/>
          <a:chExt cx="0" cy="0"/>
        </a:xfrm>
      </p:grpSpPr>
      <p:sp>
        <p:nvSpPr>
          <p:cNvPr id="104" name="Text"/>
          <p:cNvSpPr txBox="1"/>
          <p:nvPr/>
        </p:nvSpPr>
        <p:spPr>
          <a:xfrm>
            <a:off x="4498746" y="2439263"/>
            <a:ext cx="138819" cy="400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6CCEA53E-E238-9E49-B176-7E381813FB2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Title Text">
            <a:extLst>
              <a:ext uri="{FF2B5EF4-FFF2-40B4-BE49-F238E27FC236}">
                <a16:creationId xmlns:a16="http://schemas.microsoft.com/office/drawing/2014/main" id="{F3F0AAC7-5660-914C-9C5F-F2322D3C6BA8}"/>
              </a:ext>
            </a:extLst>
          </p:cNvPr>
          <p:cNvSpPr txBox="1">
            <a:spLocks noGrp="1"/>
          </p:cNvSpPr>
          <p:nvPr>
            <p:ph type="title"/>
          </p:nvPr>
        </p:nvSpPr>
        <p:spPr>
          <a:xfrm>
            <a:off x="437767" y="341313"/>
            <a:ext cx="4958018" cy="731838"/>
          </a:xfrm>
          <a:prstGeom prst="rect">
            <a:avLst/>
          </a:prstGeom>
        </p:spPr>
        <p:txBody>
          <a:bodyPr anchor="ctr"/>
          <a:lstStyle>
            <a:lvl1pPr>
              <a:lnSpc>
                <a:spcPct val="80000"/>
              </a:lnSpc>
              <a:defRPr sz="2800"/>
            </a:lvl1pPr>
          </a:lstStyle>
          <a:p>
            <a:r>
              <a:t>Title Text</a:t>
            </a:r>
          </a:p>
        </p:txBody>
      </p:sp>
      <p:sp>
        <p:nvSpPr>
          <p:cNvPr id="10" name="Body Level One…">
            <a:extLst>
              <a:ext uri="{FF2B5EF4-FFF2-40B4-BE49-F238E27FC236}">
                <a16:creationId xmlns:a16="http://schemas.microsoft.com/office/drawing/2014/main" id="{8A230E2F-DE2B-9B44-B43B-6DACF6DA3AFA}"/>
              </a:ext>
            </a:extLst>
          </p:cNvPr>
          <p:cNvSpPr txBox="1">
            <a:spLocks noGrp="1"/>
          </p:cNvSpPr>
          <p:nvPr>
            <p:ph type="body" sz="half" idx="1"/>
          </p:nvPr>
        </p:nvSpPr>
        <p:spPr>
          <a:xfrm>
            <a:off x="437766" y="1189421"/>
            <a:ext cx="3837672" cy="3308437"/>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sp>
        <p:nvSpPr>
          <p:cNvPr id="15" name="Google Shape;106;p19">
            <a:extLst>
              <a:ext uri="{FF2B5EF4-FFF2-40B4-BE49-F238E27FC236}">
                <a16:creationId xmlns:a16="http://schemas.microsoft.com/office/drawing/2014/main" id="{80E02D83-FA55-7741-9525-255E0660DCD5}"/>
              </a:ext>
            </a:extLst>
          </p:cNvPr>
          <p:cNvSpPr txBox="1"/>
          <p:nvPr userDrawn="1"/>
        </p:nvSpPr>
        <p:spPr>
          <a:xfrm>
            <a:off x="437766"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12" name="Picture 11">
            <a:extLst>
              <a:ext uri="{FF2B5EF4-FFF2-40B4-BE49-F238E27FC236}">
                <a16:creationId xmlns:a16="http://schemas.microsoft.com/office/drawing/2014/main" id="{D2E12ED8-645D-6C4F-906D-5E529442945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32710" r="19752"/>
          <a:stretch/>
        </p:blipFill>
        <p:spPr>
          <a:xfrm>
            <a:off x="5365053" y="455033"/>
            <a:ext cx="3299702" cy="3904413"/>
          </a:xfrm>
          <a:prstGeom prst="rect">
            <a:avLst/>
          </a:prstGeom>
        </p:spPr>
      </p:pic>
    </p:spTree>
    <p:extLst>
      <p:ext uri="{BB962C8B-B14F-4D97-AF65-F5344CB8AC3E}">
        <p14:creationId xmlns:p14="http://schemas.microsoft.com/office/powerpoint/2010/main" val="355715199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 Text - white">
    <p:spTree>
      <p:nvGrpSpPr>
        <p:cNvPr id="1" name=""/>
        <p:cNvGrpSpPr/>
        <p:nvPr/>
      </p:nvGrpSpPr>
      <p:grpSpPr>
        <a:xfrm>
          <a:off x="0" y="0"/>
          <a:ext cx="0" cy="0"/>
          <a:chOff x="0" y="0"/>
          <a:chExt cx="0" cy="0"/>
        </a:xfrm>
      </p:grpSpPr>
      <p:sp>
        <p:nvSpPr>
          <p:cNvPr id="102"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lvl1pPr>
          </a:lstStyle>
          <a:p>
            <a:r>
              <a:t>Title Text</a:t>
            </a:r>
          </a:p>
        </p:txBody>
      </p:sp>
      <p:sp>
        <p:nvSpPr>
          <p:cNvPr id="104" name="Text"/>
          <p:cNvSpPr txBox="1"/>
          <p:nvPr/>
        </p:nvSpPr>
        <p:spPr>
          <a:xfrm>
            <a:off x="4498746" y="2439263"/>
            <a:ext cx="138819" cy="4004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sp>
        <p:nvSpPr>
          <p:cNvPr id="6" name="Body Level One…">
            <a:extLst>
              <a:ext uri="{FF2B5EF4-FFF2-40B4-BE49-F238E27FC236}">
                <a16:creationId xmlns:a16="http://schemas.microsoft.com/office/drawing/2014/main" id="{6722FA36-8F57-434C-8B77-8C72C9799651}"/>
              </a:ext>
            </a:extLst>
          </p:cNvPr>
          <p:cNvSpPr txBox="1">
            <a:spLocks noGrp="1"/>
          </p:cNvSpPr>
          <p:nvPr>
            <p:ph type="body" sz="half" idx="1"/>
          </p:nvPr>
        </p:nvSpPr>
        <p:spPr>
          <a:xfrm>
            <a:off x="437766" y="1205898"/>
            <a:ext cx="8345488" cy="3083094"/>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pic>
        <p:nvPicPr>
          <p:cNvPr id="11" name="Picture 10" descr="A picture containing drawing&#10;&#10;Description automatically generated">
            <a:extLst>
              <a:ext uri="{FF2B5EF4-FFF2-40B4-BE49-F238E27FC236}">
                <a16:creationId xmlns:a16="http://schemas.microsoft.com/office/drawing/2014/main" id="{BFC1F599-F2DD-6E4B-9AE5-D6C03A05AC5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Google Shape;106;p19">
            <a:extLst>
              <a:ext uri="{FF2B5EF4-FFF2-40B4-BE49-F238E27FC236}">
                <a16:creationId xmlns:a16="http://schemas.microsoft.com/office/drawing/2014/main" id="{9A24D9EC-5BF6-314A-95FD-5890D1D920BC}"/>
              </a:ext>
            </a:extLst>
          </p:cNvPr>
          <p:cNvSpPr txBox="1"/>
          <p:nvPr userDrawn="1"/>
        </p:nvSpPr>
        <p:spPr>
          <a:xfrm>
            <a:off x="468312"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511015505"/>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1_Title Text + caption and accent - white">
    <p:bg>
      <p:bgPr>
        <a:solidFill>
          <a:schemeClr val="bg1"/>
        </a:solidFill>
        <a:effectLst/>
      </p:bgPr>
    </p:bg>
    <p:spTree>
      <p:nvGrpSpPr>
        <p:cNvPr id="1" name=""/>
        <p:cNvGrpSpPr/>
        <p:nvPr/>
      </p:nvGrpSpPr>
      <p:grpSpPr>
        <a:xfrm>
          <a:off x="0" y="0"/>
          <a:ext cx="0" cy="0"/>
          <a:chOff x="0" y="0"/>
          <a:chExt cx="0" cy="0"/>
        </a:xfrm>
      </p:grpSpPr>
      <p:sp>
        <p:nvSpPr>
          <p:cNvPr id="140" name="Body Level One…"/>
          <p:cNvSpPr txBox="1">
            <a:spLocks noGrp="1"/>
          </p:cNvSpPr>
          <p:nvPr>
            <p:ph type="body" sz="quarter" idx="1" hasCustomPrompt="1"/>
          </p:nvPr>
        </p:nvSpPr>
        <p:spPr>
          <a:xfrm>
            <a:off x="437766" y="4148220"/>
            <a:ext cx="7180314" cy="326234"/>
          </a:xfrm>
          <a:prstGeom prst="rect">
            <a:avLst/>
          </a:prstGeom>
        </p:spPr>
        <p:txBody>
          <a:bodyPr lIns="45710" tIns="45710" rIns="45710" bIns="45710" anchor="t">
            <a:normAutofit/>
          </a:bodyPr>
          <a:lstStyle>
            <a:lvl1pPr defTabSz="603574">
              <a:lnSpc>
                <a:spcPct val="100000"/>
              </a:lnSpc>
              <a:spcBef>
                <a:spcPts val="800"/>
              </a:spcBef>
              <a:buClrTx/>
              <a:buSzTx/>
              <a:buFontTx/>
              <a:buNone/>
              <a:defRPr sz="1400"/>
            </a:lvl1pPr>
            <a:lvl2pPr marL="169862" indent="-26987" defTabSz="603574">
              <a:lnSpc>
                <a:spcPct val="100000"/>
              </a:lnSpc>
              <a:spcBef>
                <a:spcPts val="800"/>
              </a:spcBef>
              <a:buClrTx/>
              <a:buSzTx/>
              <a:buFontTx/>
              <a:buNone/>
              <a:defRPr sz="1400"/>
            </a:lvl2pPr>
            <a:lvl3pPr marL="169862" indent="92074" defTabSz="603574">
              <a:lnSpc>
                <a:spcPct val="100000"/>
              </a:lnSpc>
              <a:spcBef>
                <a:spcPts val="800"/>
              </a:spcBef>
              <a:buClrTx/>
              <a:buSzTx/>
              <a:buFontTx/>
              <a:buNone/>
              <a:defRPr sz="1400"/>
            </a:lvl3pPr>
            <a:lvl4pPr marL="169862" indent="163512" defTabSz="603574">
              <a:lnSpc>
                <a:spcPct val="100000"/>
              </a:lnSpc>
              <a:spcBef>
                <a:spcPts val="800"/>
              </a:spcBef>
              <a:buClrTx/>
              <a:buSzTx/>
              <a:buFontTx/>
              <a:buNone/>
              <a:defRPr sz="1400"/>
            </a:lvl4pPr>
            <a:lvl5pPr marL="169862" indent="234949" defTabSz="603574">
              <a:lnSpc>
                <a:spcPct val="100000"/>
              </a:lnSpc>
              <a:spcBef>
                <a:spcPts val="800"/>
              </a:spcBef>
              <a:buClrTx/>
              <a:buSzTx/>
              <a:buFontTx/>
              <a:buNone/>
              <a:defRPr sz="1400">
                <a:solidFill>
                  <a:schemeClr val="tx1"/>
                </a:solidFill>
              </a:defRPr>
            </a:lvl5pPr>
          </a:lstStyle>
          <a:p>
            <a:pPr lvl="4"/>
            <a:r>
              <a:rPr lang="en-US"/>
              <a:t>Caption Here</a:t>
            </a:r>
            <a:endParaRPr/>
          </a:p>
        </p:txBody>
      </p:sp>
      <p:sp>
        <p:nvSpPr>
          <p:cNvPr id="141"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solidFill>
                  <a:schemeClr val="tx1"/>
                </a:solidFill>
              </a:defRPr>
            </a:lvl1pPr>
          </a:lstStyle>
          <a:p>
            <a:r>
              <a:t>Title Text</a:t>
            </a:r>
          </a:p>
        </p:txBody>
      </p:sp>
      <p:pic>
        <p:nvPicPr>
          <p:cNvPr id="9" name="Picture 8" descr="A picture containing drawing, light&#10;&#10;Description automatically generated">
            <a:extLst>
              <a:ext uri="{FF2B5EF4-FFF2-40B4-BE49-F238E27FC236}">
                <a16:creationId xmlns:a16="http://schemas.microsoft.com/office/drawing/2014/main" id="{2EFE91DC-15AB-6C44-9E5B-07F0FC9471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sp>
        <p:nvSpPr>
          <p:cNvPr id="12" name="Google Shape;106;p19">
            <a:extLst>
              <a:ext uri="{FF2B5EF4-FFF2-40B4-BE49-F238E27FC236}">
                <a16:creationId xmlns:a16="http://schemas.microsoft.com/office/drawing/2014/main" id="{3D768927-9D2B-DA4B-A3CC-9075CB81D5EA}"/>
              </a:ext>
            </a:extLst>
          </p:cNvPr>
          <p:cNvSpPr txBox="1"/>
          <p:nvPr userDrawn="1"/>
        </p:nvSpPr>
        <p:spPr>
          <a:xfrm>
            <a:off x="542193"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
        <p:nvSpPr>
          <p:cNvPr id="2" name="Rectangle 1">
            <a:extLst>
              <a:ext uri="{FF2B5EF4-FFF2-40B4-BE49-F238E27FC236}">
                <a16:creationId xmlns:a16="http://schemas.microsoft.com/office/drawing/2014/main" id="{6F5BF671-A09A-4B49-8691-C3E256C9CD36}"/>
              </a:ext>
            </a:extLst>
          </p:cNvPr>
          <p:cNvSpPr/>
          <p:nvPr userDrawn="1"/>
        </p:nvSpPr>
        <p:spPr>
          <a:xfrm rot="18900000">
            <a:off x="7599626" y="3014198"/>
            <a:ext cx="776023" cy="776023"/>
          </a:xfrm>
          <a:prstGeom prst="rect">
            <a:avLst/>
          </a:prstGeom>
          <a:noFill/>
          <a:ln w="952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3" name="Rectangle 12">
            <a:extLst>
              <a:ext uri="{FF2B5EF4-FFF2-40B4-BE49-F238E27FC236}">
                <a16:creationId xmlns:a16="http://schemas.microsoft.com/office/drawing/2014/main" id="{2BB7CE7B-90A0-3E4B-AE66-4868FD844176}"/>
              </a:ext>
            </a:extLst>
          </p:cNvPr>
          <p:cNvSpPr/>
          <p:nvPr userDrawn="1"/>
        </p:nvSpPr>
        <p:spPr>
          <a:xfrm rot="18900000">
            <a:off x="8190452" y="2858206"/>
            <a:ext cx="1088010" cy="1088010"/>
          </a:xfrm>
          <a:prstGeom prst="rect">
            <a:avLst/>
          </a:prstGeom>
          <a:noFill/>
          <a:ln w="9525" cap="flat">
            <a:solidFill>
              <a:schemeClr val="tx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4" name="Oval 3">
            <a:extLst>
              <a:ext uri="{FF2B5EF4-FFF2-40B4-BE49-F238E27FC236}">
                <a16:creationId xmlns:a16="http://schemas.microsoft.com/office/drawing/2014/main" id="{9E920449-F0A3-D64C-8E90-3FE5CB14092E}"/>
              </a:ext>
            </a:extLst>
          </p:cNvPr>
          <p:cNvSpPr/>
          <p:nvPr userDrawn="1"/>
        </p:nvSpPr>
        <p:spPr>
          <a:xfrm>
            <a:off x="8099035" y="3252229"/>
            <a:ext cx="293298" cy="293298"/>
          </a:xfrm>
          <a:prstGeom prst="ellipse">
            <a:avLst/>
          </a:prstGeom>
          <a:solidFill>
            <a:schemeClr val="tx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4" name="Oval 13">
            <a:extLst>
              <a:ext uri="{FF2B5EF4-FFF2-40B4-BE49-F238E27FC236}">
                <a16:creationId xmlns:a16="http://schemas.microsoft.com/office/drawing/2014/main" id="{9AF118AD-4AE7-7049-A6F6-AFBC0C07E9DA}"/>
              </a:ext>
            </a:extLst>
          </p:cNvPr>
          <p:cNvSpPr/>
          <p:nvPr userDrawn="1"/>
        </p:nvSpPr>
        <p:spPr>
          <a:xfrm>
            <a:off x="6775137" y="3105509"/>
            <a:ext cx="599350" cy="599350"/>
          </a:xfrm>
          <a:prstGeom prst="ellipse">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Tree>
    <p:extLst>
      <p:ext uri="{BB962C8B-B14F-4D97-AF65-F5344CB8AC3E}">
        <p14:creationId xmlns:p14="http://schemas.microsoft.com/office/powerpoint/2010/main" val="181801786"/>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le and text - white">
    <p:bg>
      <p:bgPr>
        <a:solidFill>
          <a:schemeClr val="bg1"/>
        </a:solidFill>
        <a:effectLst/>
      </p:bgPr>
    </p:bg>
    <p:spTree>
      <p:nvGrpSpPr>
        <p:cNvPr id="1" name=""/>
        <p:cNvGrpSpPr/>
        <p:nvPr/>
      </p:nvGrpSpPr>
      <p:grpSpPr>
        <a:xfrm>
          <a:off x="0" y="0"/>
          <a:ext cx="0" cy="0"/>
          <a:chOff x="0" y="0"/>
          <a:chExt cx="0" cy="0"/>
        </a:xfrm>
      </p:grpSpPr>
      <p:sp>
        <p:nvSpPr>
          <p:cNvPr id="161"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solidFill>
                  <a:schemeClr val="tx1"/>
                </a:solidFill>
              </a:defRPr>
            </a:lvl1pPr>
          </a:lstStyle>
          <a:p>
            <a:r>
              <a:t>Title Text</a:t>
            </a:r>
          </a:p>
        </p:txBody>
      </p:sp>
      <p:sp>
        <p:nvSpPr>
          <p:cNvPr id="6" name="Body Level One…">
            <a:extLst>
              <a:ext uri="{FF2B5EF4-FFF2-40B4-BE49-F238E27FC236}">
                <a16:creationId xmlns:a16="http://schemas.microsoft.com/office/drawing/2014/main" id="{F9DB7FC6-B612-8D42-A455-9E94C4D951DE}"/>
              </a:ext>
            </a:extLst>
          </p:cNvPr>
          <p:cNvSpPr txBox="1">
            <a:spLocks noGrp="1"/>
          </p:cNvSpPr>
          <p:nvPr>
            <p:ph type="body" sz="half" idx="1"/>
          </p:nvPr>
        </p:nvSpPr>
        <p:spPr>
          <a:xfrm>
            <a:off x="533398" y="1205898"/>
            <a:ext cx="8249857" cy="3083094"/>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tx1"/>
                </a:solidFill>
              </a:defRPr>
            </a:lvl1pPr>
            <a:lvl2pPr marL="301625" indent="-127000">
              <a:spcBef>
                <a:spcPts val="1100"/>
              </a:spcBef>
              <a:buClr>
                <a:schemeClr val="accent1"/>
              </a:buClr>
              <a:buSzPct val="60000"/>
              <a:defRPr sz="2000" baseline="0">
                <a:solidFill>
                  <a:schemeClr val="tx1"/>
                </a:solidFill>
              </a:defRPr>
            </a:lvl2pPr>
            <a:lvl3pPr marL="431800" indent="-142875">
              <a:spcBef>
                <a:spcPts val="1100"/>
              </a:spcBef>
              <a:buClr>
                <a:schemeClr val="accent1"/>
              </a:buClr>
              <a:buSzPct val="60000"/>
              <a:defRPr sz="2000" baseline="0">
                <a:solidFill>
                  <a:schemeClr val="tx1"/>
                </a:solidFill>
              </a:defRPr>
            </a:lvl3pPr>
            <a:lvl4pPr marL="566510" indent="-163285">
              <a:spcBef>
                <a:spcPts val="1100"/>
              </a:spcBef>
              <a:buClr>
                <a:schemeClr val="accent1"/>
              </a:buClr>
              <a:buSzPct val="60000"/>
              <a:defRPr sz="2000" baseline="0">
                <a:solidFill>
                  <a:schemeClr val="tx1"/>
                </a:solidFill>
              </a:defRPr>
            </a:lvl4pPr>
            <a:lvl5pPr marL="708025" indent="-190500">
              <a:spcBef>
                <a:spcPts val="1100"/>
              </a:spcBef>
              <a:buClr>
                <a:schemeClr val="accent1"/>
              </a:buClr>
              <a:buSzPct val="60000"/>
              <a:defRPr sz="2000" baseline="0">
                <a:solidFill>
                  <a:schemeClr val="tx1"/>
                </a:solidFill>
              </a:defRPr>
            </a:lvl5pPr>
          </a:lstStyle>
          <a:p>
            <a:r>
              <a:t>Body Level One</a:t>
            </a:r>
          </a:p>
          <a:p>
            <a:pPr lvl="1"/>
            <a:r>
              <a:t>Body Level Two</a:t>
            </a:r>
          </a:p>
          <a:p>
            <a:pPr lvl="2"/>
            <a:r>
              <a:t>Body Level Three</a:t>
            </a:r>
          </a:p>
          <a:p>
            <a:pPr lvl="3"/>
            <a:r>
              <a:t>Body Level Four</a:t>
            </a:r>
          </a:p>
          <a:p>
            <a:pPr lvl="4"/>
            <a:r>
              <a:t>Body Level Five</a:t>
            </a:r>
          </a:p>
        </p:txBody>
      </p:sp>
      <p:pic>
        <p:nvPicPr>
          <p:cNvPr id="8" name="Picture 7" descr="A picture containing drawing, light&#10;&#10;Description automatically generated">
            <a:extLst>
              <a:ext uri="{FF2B5EF4-FFF2-40B4-BE49-F238E27FC236}">
                <a16:creationId xmlns:a16="http://schemas.microsoft.com/office/drawing/2014/main" id="{80EB35FC-6538-F44A-8426-72635DD87C1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sp>
        <p:nvSpPr>
          <p:cNvPr id="9" name="Google Shape;106;p19">
            <a:extLst>
              <a:ext uri="{FF2B5EF4-FFF2-40B4-BE49-F238E27FC236}">
                <a16:creationId xmlns:a16="http://schemas.microsoft.com/office/drawing/2014/main" id="{EFBAD214-5ECB-6B41-947D-FEB535AF2366}"/>
              </a:ext>
            </a:extLst>
          </p:cNvPr>
          <p:cNvSpPr txBox="1"/>
          <p:nvPr userDrawn="1"/>
        </p:nvSpPr>
        <p:spPr>
          <a:xfrm>
            <a:off x="542193"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46386464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Intro Slide - blue - one speaker">
    <p:bg>
      <p:bgPr>
        <a:solidFill>
          <a:schemeClr val="bg2"/>
        </a:solidFill>
        <a:effectLst/>
      </p:bgPr>
    </p:bg>
    <p:spTree>
      <p:nvGrpSpPr>
        <p:cNvPr id="1" name=""/>
        <p:cNvGrpSpPr/>
        <p:nvPr/>
      </p:nvGrpSpPr>
      <p:grpSpPr>
        <a:xfrm>
          <a:off x="0" y="0"/>
          <a:ext cx="0" cy="0"/>
          <a:chOff x="0" y="0"/>
          <a:chExt cx="0" cy="0"/>
        </a:xfrm>
      </p:grpSpPr>
      <p:pic>
        <p:nvPicPr>
          <p:cNvPr id="11" name="Picture 10" descr="A picture containing drawing, light&#10;&#10;Description automatically generated">
            <a:extLst>
              <a:ext uri="{FF2B5EF4-FFF2-40B4-BE49-F238E27FC236}">
                <a16:creationId xmlns:a16="http://schemas.microsoft.com/office/drawing/2014/main" id="{E450DC1B-CD3F-D749-AA30-7A84A8C9B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3292" y="391308"/>
            <a:ext cx="2055183" cy="423534"/>
          </a:xfrm>
          <a:prstGeom prst="rect">
            <a:avLst/>
          </a:prstGeom>
        </p:spPr>
      </p:pic>
      <p:sp>
        <p:nvSpPr>
          <p:cNvPr id="7" name="Text Placeholder 2">
            <a:extLst>
              <a:ext uri="{FF2B5EF4-FFF2-40B4-BE49-F238E27FC236}">
                <a16:creationId xmlns:a16="http://schemas.microsoft.com/office/drawing/2014/main" id="{5D479132-0FD9-9847-95FD-B4E7A4E7BF14}"/>
              </a:ext>
            </a:extLst>
          </p:cNvPr>
          <p:cNvSpPr>
            <a:spLocks noGrp="1"/>
          </p:cNvSpPr>
          <p:nvPr>
            <p:ph type="body" sz="quarter" idx="10" hasCustomPrompt="1"/>
          </p:nvPr>
        </p:nvSpPr>
        <p:spPr>
          <a:xfrm>
            <a:off x="446088" y="1251405"/>
            <a:ext cx="5468937" cy="1417183"/>
          </a:xfrm>
          <a:prstGeom prst="rect">
            <a:avLst/>
          </a:prstGeom>
        </p:spPr>
        <p:txBody>
          <a:bodyPr anchor="b"/>
          <a:lstStyle>
            <a:lvl1pPr marL="0" indent="0">
              <a:buNone/>
              <a:defRPr sz="4000" baseline="0">
                <a:solidFill>
                  <a:schemeClr val="tx1"/>
                </a:solidFill>
              </a:defRPr>
            </a:lvl1pPr>
          </a:lstStyle>
          <a:p>
            <a:pPr lvl="0"/>
            <a:r>
              <a:rPr lang="en-US"/>
              <a:t>Title Text</a:t>
            </a:r>
          </a:p>
        </p:txBody>
      </p:sp>
      <p:sp>
        <p:nvSpPr>
          <p:cNvPr id="9" name="Text Placeholder 17">
            <a:extLst>
              <a:ext uri="{FF2B5EF4-FFF2-40B4-BE49-F238E27FC236}">
                <a16:creationId xmlns:a16="http://schemas.microsoft.com/office/drawing/2014/main" id="{A8D3E840-19FE-624F-AF5B-D07C63215F85}"/>
              </a:ext>
            </a:extLst>
          </p:cNvPr>
          <p:cNvSpPr>
            <a:spLocks noGrp="1"/>
          </p:cNvSpPr>
          <p:nvPr>
            <p:ph type="body" sz="quarter" idx="11" hasCustomPrompt="1"/>
          </p:nvPr>
        </p:nvSpPr>
        <p:spPr>
          <a:xfrm>
            <a:off x="446088" y="2751138"/>
            <a:ext cx="5468937" cy="627062"/>
          </a:xfrm>
          <a:prstGeom prst="rect">
            <a:avLst/>
          </a:prstGeom>
        </p:spPr>
        <p:txBody>
          <a:bodyPr/>
          <a:lstStyle>
            <a:lvl1pPr marL="0" indent="0">
              <a:buNone/>
              <a:defRPr>
                <a:solidFill>
                  <a:schemeClr val="tx1"/>
                </a:solidFill>
              </a:defRPr>
            </a:lvl1pPr>
          </a:lstStyle>
          <a:p>
            <a:pPr lvl="0"/>
            <a:r>
              <a:rPr lang="en-US"/>
              <a:t>Subtitle</a:t>
            </a:r>
          </a:p>
        </p:txBody>
      </p:sp>
      <p:sp>
        <p:nvSpPr>
          <p:cNvPr id="10" name="Text Placeholder 19">
            <a:extLst>
              <a:ext uri="{FF2B5EF4-FFF2-40B4-BE49-F238E27FC236}">
                <a16:creationId xmlns:a16="http://schemas.microsoft.com/office/drawing/2014/main" id="{A9B5933D-6F3C-6340-9542-8C25DCA6B72E}"/>
              </a:ext>
            </a:extLst>
          </p:cNvPr>
          <p:cNvSpPr>
            <a:spLocks noGrp="1"/>
          </p:cNvSpPr>
          <p:nvPr>
            <p:ph type="body" sz="quarter" idx="12" hasCustomPrompt="1"/>
          </p:nvPr>
        </p:nvSpPr>
        <p:spPr>
          <a:xfrm>
            <a:off x="466725" y="3814763"/>
            <a:ext cx="5448300" cy="230187"/>
          </a:xfrm>
          <a:prstGeom prst="rect">
            <a:avLst/>
          </a:prstGeom>
        </p:spPr>
        <p:txBody>
          <a:bodyPr/>
          <a:lstStyle>
            <a:lvl1pPr marL="0" indent="0">
              <a:buNone/>
              <a:defRPr>
                <a:solidFill>
                  <a:schemeClr val="tx1"/>
                </a:solidFill>
              </a:defRPr>
            </a:lvl1pPr>
          </a:lstStyle>
          <a:p>
            <a:pPr lvl="0"/>
            <a:r>
              <a:rPr lang="en-US"/>
              <a:t>Presenter Name, Presenter Job Title</a:t>
            </a:r>
          </a:p>
        </p:txBody>
      </p:sp>
      <p:sp>
        <p:nvSpPr>
          <p:cNvPr id="12" name="Text Placeholder 21">
            <a:extLst>
              <a:ext uri="{FF2B5EF4-FFF2-40B4-BE49-F238E27FC236}">
                <a16:creationId xmlns:a16="http://schemas.microsoft.com/office/drawing/2014/main" id="{F10052B6-3748-E34D-8FCD-FEF17C68E4B7}"/>
              </a:ext>
            </a:extLst>
          </p:cNvPr>
          <p:cNvSpPr>
            <a:spLocks noGrp="1"/>
          </p:cNvSpPr>
          <p:nvPr>
            <p:ph type="body" sz="quarter" idx="13" hasCustomPrompt="1"/>
          </p:nvPr>
        </p:nvSpPr>
        <p:spPr>
          <a:xfrm>
            <a:off x="466725" y="4078372"/>
            <a:ext cx="5448300" cy="269875"/>
          </a:xfrm>
          <a:prstGeom prst="rect">
            <a:avLst/>
          </a:prstGeom>
        </p:spPr>
        <p:txBody>
          <a:bodyPr/>
          <a:lstStyle>
            <a:lvl1pPr marL="0" indent="0">
              <a:buNone/>
              <a:defRPr>
                <a:solidFill>
                  <a:schemeClr val="accent1"/>
                </a:solidFill>
              </a:defRPr>
            </a:lvl1pPr>
          </a:lstStyle>
          <a:p>
            <a:pPr lvl="0"/>
            <a:r>
              <a:rPr lang="en-US" err="1"/>
              <a:t>PresenterEmail@Website.com</a:t>
            </a:r>
            <a:endParaRPr lang="en-US"/>
          </a:p>
        </p:txBody>
      </p:sp>
      <p:pic>
        <p:nvPicPr>
          <p:cNvPr id="19" name="Picture 18" descr="A picture containing meter, clock&#10;&#10;Description generated with very high confidence">
            <a:extLst>
              <a:ext uri="{FF2B5EF4-FFF2-40B4-BE49-F238E27FC236}">
                <a16:creationId xmlns:a16="http://schemas.microsoft.com/office/drawing/2014/main" id="{3E2A5DA0-4D3F-F943-9850-8D56D9FFF47B}"/>
              </a:ext>
            </a:extLst>
          </p:cNvPr>
          <p:cNvPicPr>
            <a:picLocks noChangeAspect="1"/>
          </p:cNvPicPr>
          <p:nvPr userDrawn="1"/>
        </p:nvPicPr>
        <p:blipFill rotWithShape="1">
          <a:blip r:embed="rId3"/>
          <a:srcRect t="38730" r="377" b="35873"/>
          <a:stretch/>
        </p:blipFill>
        <p:spPr>
          <a:xfrm>
            <a:off x="6545217" y="1814401"/>
            <a:ext cx="2664094" cy="268501"/>
          </a:xfrm>
          <a:prstGeom prst="rect">
            <a:avLst/>
          </a:prstGeom>
        </p:spPr>
      </p:pic>
      <p:pic>
        <p:nvPicPr>
          <p:cNvPr id="20" name="Picture 19" descr="A picture containing meter, clock&#10;&#10;Description generated with very high confidence">
            <a:extLst>
              <a:ext uri="{FF2B5EF4-FFF2-40B4-BE49-F238E27FC236}">
                <a16:creationId xmlns:a16="http://schemas.microsoft.com/office/drawing/2014/main" id="{9C924E93-5FAF-8940-8C90-F96D3091AD2A}"/>
              </a:ext>
            </a:extLst>
          </p:cNvPr>
          <p:cNvPicPr>
            <a:picLocks noChangeAspect="1"/>
          </p:cNvPicPr>
          <p:nvPr userDrawn="1"/>
        </p:nvPicPr>
        <p:blipFill rotWithShape="1">
          <a:blip r:embed="rId3"/>
          <a:srcRect t="38730" r="377" b="35873"/>
          <a:stretch/>
        </p:blipFill>
        <p:spPr>
          <a:xfrm>
            <a:off x="6545216" y="2288408"/>
            <a:ext cx="2664094" cy="268501"/>
          </a:xfrm>
          <a:prstGeom prst="rect">
            <a:avLst/>
          </a:prstGeom>
        </p:spPr>
      </p:pic>
      <p:pic>
        <p:nvPicPr>
          <p:cNvPr id="21" name="Picture 20" descr="A picture containing meter, clock&#10;&#10;Description generated with very high confidence">
            <a:extLst>
              <a:ext uri="{FF2B5EF4-FFF2-40B4-BE49-F238E27FC236}">
                <a16:creationId xmlns:a16="http://schemas.microsoft.com/office/drawing/2014/main" id="{D254B08A-28B3-0B42-AEF9-15BC6B0936EC}"/>
              </a:ext>
            </a:extLst>
          </p:cNvPr>
          <p:cNvPicPr>
            <a:picLocks noChangeAspect="1"/>
          </p:cNvPicPr>
          <p:nvPr userDrawn="1"/>
        </p:nvPicPr>
        <p:blipFill rotWithShape="1">
          <a:blip r:embed="rId3"/>
          <a:srcRect t="38730" r="377" b="35873"/>
          <a:stretch/>
        </p:blipFill>
        <p:spPr>
          <a:xfrm>
            <a:off x="6542814" y="2751370"/>
            <a:ext cx="2664094" cy="268501"/>
          </a:xfrm>
          <a:prstGeom prst="rect">
            <a:avLst/>
          </a:prstGeom>
        </p:spPr>
      </p:pic>
      <p:pic>
        <p:nvPicPr>
          <p:cNvPr id="22" name="Picture 21" descr="A picture containing meter, clock&#10;&#10;Description generated with very high confidence">
            <a:extLst>
              <a:ext uri="{FF2B5EF4-FFF2-40B4-BE49-F238E27FC236}">
                <a16:creationId xmlns:a16="http://schemas.microsoft.com/office/drawing/2014/main" id="{CACAD2C0-A884-724C-9928-D583B01E4429}"/>
              </a:ext>
            </a:extLst>
          </p:cNvPr>
          <p:cNvPicPr>
            <a:picLocks noChangeAspect="1"/>
          </p:cNvPicPr>
          <p:nvPr userDrawn="1"/>
        </p:nvPicPr>
        <p:blipFill rotWithShape="1">
          <a:blip r:embed="rId3"/>
          <a:srcRect t="38730" r="377" b="35873"/>
          <a:stretch/>
        </p:blipFill>
        <p:spPr>
          <a:xfrm>
            <a:off x="6541855" y="3222980"/>
            <a:ext cx="2664094" cy="268501"/>
          </a:xfrm>
          <a:prstGeom prst="rect">
            <a:avLst/>
          </a:prstGeom>
        </p:spPr>
      </p:pic>
      <p:pic>
        <p:nvPicPr>
          <p:cNvPr id="23" name="Picture 22" descr="A picture containing meter, clock&#10;&#10;Description generated with very high confidence">
            <a:extLst>
              <a:ext uri="{FF2B5EF4-FFF2-40B4-BE49-F238E27FC236}">
                <a16:creationId xmlns:a16="http://schemas.microsoft.com/office/drawing/2014/main" id="{6057513E-091A-9C44-ABC4-C28C472ECCE4}"/>
              </a:ext>
            </a:extLst>
          </p:cNvPr>
          <p:cNvPicPr>
            <a:picLocks noChangeAspect="1"/>
          </p:cNvPicPr>
          <p:nvPr userDrawn="1"/>
        </p:nvPicPr>
        <p:blipFill rotWithShape="1">
          <a:blip r:embed="rId3"/>
          <a:srcRect t="38730" r="377" b="35873"/>
          <a:stretch/>
        </p:blipFill>
        <p:spPr>
          <a:xfrm>
            <a:off x="6541854" y="3696987"/>
            <a:ext cx="2664094" cy="268501"/>
          </a:xfrm>
          <a:prstGeom prst="rect">
            <a:avLst/>
          </a:prstGeom>
        </p:spPr>
      </p:pic>
      <p:pic>
        <p:nvPicPr>
          <p:cNvPr id="24" name="Picture 23" descr="A picture containing meter, clock&#10;&#10;Description generated with very high confidence">
            <a:extLst>
              <a:ext uri="{FF2B5EF4-FFF2-40B4-BE49-F238E27FC236}">
                <a16:creationId xmlns:a16="http://schemas.microsoft.com/office/drawing/2014/main" id="{053F070B-6A2C-9540-B293-C97284FADB56}"/>
              </a:ext>
            </a:extLst>
          </p:cNvPr>
          <p:cNvPicPr>
            <a:picLocks noChangeAspect="1"/>
          </p:cNvPicPr>
          <p:nvPr userDrawn="1"/>
        </p:nvPicPr>
        <p:blipFill rotWithShape="1">
          <a:blip r:embed="rId3"/>
          <a:srcRect t="38730" r="377" b="35873"/>
          <a:stretch/>
        </p:blipFill>
        <p:spPr>
          <a:xfrm>
            <a:off x="6539452" y="4159949"/>
            <a:ext cx="2664094" cy="268501"/>
          </a:xfrm>
          <a:prstGeom prst="rect">
            <a:avLst/>
          </a:prstGeom>
        </p:spPr>
      </p:pic>
      <p:sp>
        <p:nvSpPr>
          <p:cNvPr id="15" name="Google Shape;106;p19">
            <a:extLst>
              <a:ext uri="{FF2B5EF4-FFF2-40B4-BE49-F238E27FC236}">
                <a16:creationId xmlns:a16="http://schemas.microsoft.com/office/drawing/2014/main" id="{672B1FCD-6DD6-E04B-9B49-F8BD7611EC6F}"/>
              </a:ext>
            </a:extLst>
          </p:cNvPr>
          <p:cNvSpPr txBox="1"/>
          <p:nvPr userDrawn="1"/>
        </p:nvSpPr>
        <p:spPr>
          <a:xfrm>
            <a:off x="508478" y="474167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b="0" i="0" dirty="0">
                <a:solidFill>
                  <a:schemeClr val="tx1">
                    <a:lumMod val="50000"/>
                  </a:schemeClr>
                </a:solidFill>
                <a:latin typeface="CiscoSansTT ExtraLight" panose="020B0303020201020303" pitchFamily="34" charset="0"/>
              </a:rPr>
              <a:t>© </a:t>
            </a:r>
            <a:r>
              <a:rPr lang="en-US" b="0" i="0" dirty="0">
                <a:solidFill>
                  <a:schemeClr val="tx1">
                    <a:lumMod val="50000"/>
                  </a:schemeClr>
                </a:solidFill>
                <a:latin typeface="CiscoSansTT ExtraLight" panose="020B0303020201020303" pitchFamily="34" charset="0"/>
              </a:rPr>
              <a:t>2020</a:t>
            </a:r>
            <a:r>
              <a:rPr b="0" i="0" dirty="0">
                <a:solidFill>
                  <a:schemeClr val="tx1">
                    <a:lumMod val="50000"/>
                  </a:schemeClr>
                </a:solidFill>
                <a:latin typeface="CiscoSansTT ExtraLight" panose="020B0303020201020303" pitchFamily="34" charset="0"/>
              </a:rPr>
              <a:t>  Cisco and/or its affiliates. All rights reserved.  </a:t>
            </a:r>
          </a:p>
        </p:txBody>
      </p:sp>
    </p:spTree>
    <p:extLst>
      <p:ext uri="{BB962C8B-B14F-4D97-AF65-F5344CB8AC3E}">
        <p14:creationId xmlns:p14="http://schemas.microsoft.com/office/powerpoint/2010/main" val="886678047"/>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User Data Compare/Contrast">
    <p:spTree>
      <p:nvGrpSpPr>
        <p:cNvPr id="1" name=""/>
        <p:cNvGrpSpPr/>
        <p:nvPr/>
      </p:nvGrpSpPr>
      <p:grpSpPr>
        <a:xfrm>
          <a:off x="0" y="0"/>
          <a:ext cx="0" cy="0"/>
          <a:chOff x="0" y="0"/>
          <a:chExt cx="0" cy="0"/>
        </a:xfrm>
      </p:grpSpPr>
      <p:sp>
        <p:nvSpPr>
          <p:cNvPr id="170" name="Rectangle 4"/>
          <p:cNvSpPr txBox="1"/>
          <p:nvPr/>
        </p:nvSpPr>
        <p:spPr>
          <a:xfrm>
            <a:off x="477678" y="4732986"/>
            <a:ext cx="3401052" cy="1631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92" tIns="30792" rIns="30792" bIns="30792" anchor="b">
            <a:spAutoFit/>
          </a:bodyPr>
          <a:lstStyle>
            <a:lvl1pPr defTabSz="610744">
              <a:defRPr sz="600" spc="20">
                <a:solidFill>
                  <a:srgbClr val="4CFFFF"/>
                </a:solidFill>
              </a:defRPr>
            </a:lvl1pPr>
          </a:lstStyle>
          <a:p>
            <a:r>
              <a:t>© 2019  Cisco and/or its affiliates. All rights reserved.   Cisco Confidential</a:t>
            </a:r>
          </a:p>
        </p:txBody>
      </p:sp>
      <p:sp>
        <p:nvSpPr>
          <p:cNvPr id="171" name="Rectangle 4"/>
          <p:cNvSpPr/>
          <p:nvPr/>
        </p:nvSpPr>
        <p:spPr>
          <a:xfrm>
            <a:off x="-8093" y="0"/>
            <a:ext cx="4580094" cy="5143500"/>
          </a:xfrm>
          <a:prstGeom prst="rect">
            <a:avLst/>
          </a:prstGeom>
          <a:solidFill>
            <a:schemeClr val="bg1"/>
          </a:solidFill>
          <a:ln w="12700">
            <a:noFill/>
            <a:miter lim="400000"/>
          </a:ln>
        </p:spPr>
        <p:txBody>
          <a:bodyPr lIns="45719" rIns="45719" anchor="ctr"/>
          <a:lstStyle/>
          <a:p>
            <a:pPr algn="ctr">
              <a:defRPr sz="1100">
                <a:solidFill>
                  <a:srgbClr val="000000"/>
                </a:solidFill>
              </a:defRPr>
            </a:pPr>
            <a:endParaRPr/>
          </a:p>
        </p:txBody>
      </p:sp>
      <p:sp>
        <p:nvSpPr>
          <p:cNvPr id="8" name="Title Text">
            <a:extLst>
              <a:ext uri="{FF2B5EF4-FFF2-40B4-BE49-F238E27FC236}">
                <a16:creationId xmlns:a16="http://schemas.microsoft.com/office/drawing/2014/main" id="{E8F78D0D-9051-F647-9593-49E266698D55}"/>
              </a:ext>
            </a:extLst>
          </p:cNvPr>
          <p:cNvSpPr txBox="1">
            <a:spLocks noGrp="1"/>
          </p:cNvSpPr>
          <p:nvPr>
            <p:ph type="title" hasCustomPrompt="1"/>
          </p:nvPr>
        </p:nvSpPr>
        <p:spPr>
          <a:xfrm>
            <a:off x="437766" y="510540"/>
            <a:ext cx="3808797" cy="655320"/>
          </a:xfrm>
          <a:prstGeom prst="rect">
            <a:avLst/>
          </a:prstGeom>
        </p:spPr>
        <p:txBody>
          <a:bodyPr anchor="t">
            <a:normAutofit/>
          </a:bodyPr>
          <a:lstStyle>
            <a:lvl1pPr>
              <a:lnSpc>
                <a:spcPct val="85000"/>
              </a:lnSpc>
              <a:defRPr sz="2800" baseline="0">
                <a:solidFill>
                  <a:schemeClr val="tx1"/>
                </a:solidFill>
              </a:defRPr>
            </a:lvl1pPr>
          </a:lstStyle>
          <a:p>
            <a:r>
              <a:rPr lang="en-US"/>
              <a:t>Compare user data</a:t>
            </a:r>
            <a:endParaRPr/>
          </a:p>
        </p:txBody>
      </p:sp>
      <p:sp>
        <p:nvSpPr>
          <p:cNvPr id="5" name="Text Placeholder 4">
            <a:extLst>
              <a:ext uri="{FF2B5EF4-FFF2-40B4-BE49-F238E27FC236}">
                <a16:creationId xmlns:a16="http://schemas.microsoft.com/office/drawing/2014/main" id="{CB75A6CD-1277-D34E-A093-327531430E4A}"/>
              </a:ext>
            </a:extLst>
          </p:cNvPr>
          <p:cNvSpPr>
            <a:spLocks noGrp="1"/>
          </p:cNvSpPr>
          <p:nvPr>
            <p:ph type="body" sz="quarter" idx="10" hasCustomPrompt="1"/>
          </p:nvPr>
        </p:nvSpPr>
        <p:spPr>
          <a:xfrm>
            <a:off x="5016500" y="511175"/>
            <a:ext cx="3935413" cy="654050"/>
          </a:xfrm>
          <a:prstGeom prst="rect">
            <a:avLst/>
          </a:prstGeom>
        </p:spPr>
        <p:txBody>
          <a:bodyPr/>
          <a:lstStyle>
            <a:lvl1pPr marL="0" indent="0">
              <a:buNone/>
              <a:defRPr sz="2800">
                <a:solidFill>
                  <a:schemeClr val="accent1"/>
                </a:solidFill>
              </a:defRPr>
            </a:lvl1pPr>
          </a:lstStyle>
          <a:p>
            <a:pPr lvl="0"/>
            <a:r>
              <a:rPr lang="en-US"/>
              <a:t>Contrast user data</a:t>
            </a:r>
          </a:p>
        </p:txBody>
      </p:sp>
      <p:pic>
        <p:nvPicPr>
          <p:cNvPr id="18" name="Picture 17" descr="A picture containing drawing&#10;&#10;Description automatically generated">
            <a:extLst>
              <a:ext uri="{FF2B5EF4-FFF2-40B4-BE49-F238E27FC236}">
                <a16:creationId xmlns:a16="http://schemas.microsoft.com/office/drawing/2014/main" id="{85606003-4BC6-6C49-840E-499F0106C9E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Google Shape;106;p19">
            <a:extLst>
              <a:ext uri="{FF2B5EF4-FFF2-40B4-BE49-F238E27FC236}">
                <a16:creationId xmlns:a16="http://schemas.microsoft.com/office/drawing/2014/main" id="{06343452-8E9B-1042-98B4-F30127C40CFD}"/>
              </a:ext>
            </a:extLst>
          </p:cNvPr>
          <p:cNvSpPr txBox="1"/>
          <p:nvPr userDrawn="1"/>
        </p:nvSpPr>
        <p:spPr>
          <a:xfrm>
            <a:off x="437766" y="4832292"/>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1775806625"/>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Title and Chart">
    <p:bg>
      <p:bgPr>
        <a:solidFill>
          <a:schemeClr val="bg1"/>
        </a:solidFill>
        <a:effectLst/>
      </p:bgPr>
    </p:bg>
    <p:spTree>
      <p:nvGrpSpPr>
        <p:cNvPr id="1" name=""/>
        <p:cNvGrpSpPr/>
        <p:nvPr/>
      </p:nvGrpSpPr>
      <p:grpSpPr>
        <a:xfrm>
          <a:off x="0" y="0"/>
          <a:ext cx="0" cy="0"/>
          <a:chOff x="0" y="0"/>
          <a:chExt cx="0" cy="0"/>
        </a:xfrm>
      </p:grpSpPr>
      <p:sp>
        <p:nvSpPr>
          <p:cNvPr id="150" name="Body Level One…"/>
          <p:cNvSpPr txBox="1">
            <a:spLocks noGrp="1"/>
          </p:cNvSpPr>
          <p:nvPr>
            <p:ph type="body" sz="quarter" idx="1" hasCustomPrompt="1"/>
          </p:nvPr>
        </p:nvSpPr>
        <p:spPr>
          <a:xfrm>
            <a:off x="437766" y="4148220"/>
            <a:ext cx="7180314" cy="326234"/>
          </a:xfrm>
          <a:prstGeom prst="rect">
            <a:avLst/>
          </a:prstGeom>
        </p:spPr>
        <p:txBody>
          <a:bodyPr lIns="45710" tIns="45710" rIns="45710" bIns="45710" anchor="t">
            <a:normAutofit/>
          </a:bodyPr>
          <a:lstStyle>
            <a:lvl1pPr defTabSz="603574">
              <a:lnSpc>
                <a:spcPct val="100000"/>
              </a:lnSpc>
              <a:spcBef>
                <a:spcPts val="800"/>
              </a:spcBef>
              <a:buClrTx/>
              <a:buSzTx/>
              <a:buFontTx/>
              <a:buNone/>
              <a:defRPr sz="1400">
                <a:solidFill>
                  <a:schemeClr val="tx1"/>
                </a:solidFill>
              </a:defRPr>
            </a:lvl1pPr>
            <a:lvl2pPr marL="169862" indent="-26987" defTabSz="603574">
              <a:lnSpc>
                <a:spcPct val="100000"/>
              </a:lnSpc>
              <a:spcBef>
                <a:spcPts val="800"/>
              </a:spcBef>
              <a:buClrTx/>
              <a:buSzTx/>
              <a:buFontTx/>
              <a:buNone/>
              <a:defRPr sz="1400"/>
            </a:lvl2pPr>
            <a:lvl3pPr marL="169862" indent="92074" defTabSz="603574">
              <a:lnSpc>
                <a:spcPct val="100000"/>
              </a:lnSpc>
              <a:spcBef>
                <a:spcPts val="800"/>
              </a:spcBef>
              <a:buClrTx/>
              <a:buSzTx/>
              <a:buFontTx/>
              <a:buNone/>
              <a:defRPr sz="1400"/>
            </a:lvl3pPr>
            <a:lvl4pPr marL="169862" indent="163512" defTabSz="603574">
              <a:lnSpc>
                <a:spcPct val="100000"/>
              </a:lnSpc>
              <a:spcBef>
                <a:spcPts val="800"/>
              </a:spcBef>
              <a:buClrTx/>
              <a:buSzTx/>
              <a:buFontTx/>
              <a:buNone/>
              <a:defRPr sz="1400"/>
            </a:lvl4pPr>
            <a:lvl5pPr marL="169862" indent="234949" defTabSz="603574">
              <a:lnSpc>
                <a:spcPct val="100000"/>
              </a:lnSpc>
              <a:spcBef>
                <a:spcPts val="800"/>
              </a:spcBef>
              <a:buClrTx/>
              <a:buSzTx/>
              <a:buFontTx/>
              <a:buNone/>
              <a:defRPr sz="1400">
                <a:solidFill>
                  <a:schemeClr val="bg1"/>
                </a:solidFill>
              </a:defRPr>
            </a:lvl5pPr>
          </a:lstStyle>
          <a:p>
            <a:r>
              <a:rPr lang="en-US"/>
              <a:t>Caption Here</a:t>
            </a:r>
            <a:endParaRPr/>
          </a:p>
        </p:txBody>
      </p:sp>
      <p:sp>
        <p:nvSpPr>
          <p:cNvPr id="151"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solidFill>
                  <a:schemeClr val="tx1"/>
                </a:solidFill>
              </a:defRPr>
            </a:lvl1pPr>
          </a:lstStyle>
          <a:p>
            <a:r>
              <a:t>Title Text</a:t>
            </a:r>
          </a:p>
        </p:txBody>
      </p:sp>
      <p:pic>
        <p:nvPicPr>
          <p:cNvPr id="3" name="Picture 2" descr="A picture containing comb&#10;&#10;Description automatically generated">
            <a:extLst>
              <a:ext uri="{FF2B5EF4-FFF2-40B4-BE49-F238E27FC236}">
                <a16:creationId xmlns:a16="http://schemas.microsoft.com/office/drawing/2014/main" id="{1F1BA4E5-B014-134D-869F-0ECF57DC80B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748618" y="1317205"/>
            <a:ext cx="2069273" cy="2072496"/>
          </a:xfrm>
          <a:prstGeom prst="rect">
            <a:avLst/>
          </a:prstGeom>
        </p:spPr>
      </p:pic>
      <p:pic>
        <p:nvPicPr>
          <p:cNvPr id="6" name="Picture 5" descr="A close up of a wire fence&#10;&#10;Description automatically generated">
            <a:extLst>
              <a:ext uri="{FF2B5EF4-FFF2-40B4-BE49-F238E27FC236}">
                <a16:creationId xmlns:a16="http://schemas.microsoft.com/office/drawing/2014/main" id="{2B4D48DA-8564-7743-985E-AE9AAD194A7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96862" y="1265449"/>
            <a:ext cx="1034636" cy="1034636"/>
          </a:xfrm>
          <a:prstGeom prst="rect">
            <a:avLst/>
          </a:prstGeom>
        </p:spPr>
      </p:pic>
      <p:sp>
        <p:nvSpPr>
          <p:cNvPr id="4" name="Chart Placeholder 3">
            <a:extLst>
              <a:ext uri="{FF2B5EF4-FFF2-40B4-BE49-F238E27FC236}">
                <a16:creationId xmlns:a16="http://schemas.microsoft.com/office/drawing/2014/main" id="{3CDCE584-097B-6843-ABB6-153F9055856D}"/>
              </a:ext>
            </a:extLst>
          </p:cNvPr>
          <p:cNvSpPr>
            <a:spLocks noGrp="1"/>
          </p:cNvSpPr>
          <p:nvPr>
            <p:ph type="chart" sz="quarter" idx="10" hasCustomPrompt="1"/>
          </p:nvPr>
        </p:nvSpPr>
        <p:spPr>
          <a:xfrm>
            <a:off x="438150" y="1265238"/>
            <a:ext cx="7180263" cy="2730500"/>
          </a:xfrm>
          <a:prstGeom prst="rect">
            <a:avLst/>
          </a:prstGeom>
        </p:spPr>
        <p:txBody>
          <a:bodyPr/>
          <a:lstStyle>
            <a:lvl1pPr marL="0" indent="0">
              <a:buNone/>
              <a:defRPr>
                <a:solidFill>
                  <a:schemeClr val="tx1"/>
                </a:solidFill>
              </a:defRPr>
            </a:lvl1pPr>
          </a:lstStyle>
          <a:p>
            <a:r>
              <a:rPr lang="en-US"/>
              <a:t>Insert Chart or Graph</a:t>
            </a:r>
          </a:p>
        </p:txBody>
      </p:sp>
      <p:pic>
        <p:nvPicPr>
          <p:cNvPr id="9" name="Picture 8" descr="A picture containing drawing, light&#10;&#10;Description automatically generated">
            <a:extLst>
              <a:ext uri="{FF2B5EF4-FFF2-40B4-BE49-F238E27FC236}">
                <a16:creationId xmlns:a16="http://schemas.microsoft.com/office/drawing/2014/main" id="{040B4E15-827C-0348-AADC-D9D12BF1CF4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sp>
        <p:nvSpPr>
          <p:cNvPr id="10" name="Google Shape;106;p19">
            <a:extLst>
              <a:ext uri="{FF2B5EF4-FFF2-40B4-BE49-F238E27FC236}">
                <a16:creationId xmlns:a16="http://schemas.microsoft.com/office/drawing/2014/main" id="{9CFB4638-D06A-064E-BFC9-42D8ABA42718}"/>
              </a:ext>
            </a:extLst>
          </p:cNvPr>
          <p:cNvSpPr txBox="1"/>
          <p:nvPr userDrawn="1"/>
        </p:nvSpPr>
        <p:spPr>
          <a:xfrm>
            <a:off x="542193"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2903047008"/>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633398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482992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Resources Slide - midnight blue">
    <p:bg>
      <p:bgPr>
        <a:solidFill>
          <a:schemeClr val="accent3"/>
        </a:solidFill>
        <a:effectLst/>
      </p:bgPr>
    </p:bg>
    <p:spTree>
      <p:nvGrpSpPr>
        <p:cNvPr id="1" name=""/>
        <p:cNvGrpSpPr/>
        <p:nvPr/>
      </p:nvGrpSpPr>
      <p:grpSpPr>
        <a:xfrm>
          <a:off x="0" y="0"/>
          <a:ext cx="0" cy="0"/>
          <a:chOff x="0" y="0"/>
          <a:chExt cx="0" cy="0"/>
        </a:xfrm>
      </p:grpSpPr>
      <p:sp>
        <p:nvSpPr>
          <p:cNvPr id="161" name="Title Text"/>
          <p:cNvSpPr txBox="1">
            <a:spLocks noGrp="1"/>
          </p:cNvSpPr>
          <p:nvPr>
            <p:ph type="title" hasCustomPrompt="1"/>
          </p:nvPr>
        </p:nvSpPr>
        <p:spPr>
          <a:xfrm>
            <a:off x="437766" y="341313"/>
            <a:ext cx="8345489" cy="731838"/>
          </a:xfrm>
          <a:prstGeom prst="rect">
            <a:avLst/>
          </a:prstGeom>
        </p:spPr>
        <p:txBody>
          <a:bodyPr anchor="ctr"/>
          <a:lstStyle>
            <a:lvl1pPr>
              <a:lnSpc>
                <a:spcPct val="80000"/>
              </a:lnSpc>
              <a:defRPr sz="2800">
                <a:solidFill>
                  <a:schemeClr val="tx1"/>
                </a:solidFill>
              </a:defRPr>
            </a:lvl1pPr>
          </a:lstStyle>
          <a:p>
            <a:r>
              <a:rPr lang="en-US"/>
              <a:t>Resources</a:t>
            </a:r>
            <a:endParaRPr/>
          </a:p>
        </p:txBody>
      </p:sp>
      <p:pic>
        <p:nvPicPr>
          <p:cNvPr id="6" name="Picture 5">
            <a:extLst>
              <a:ext uri="{FF2B5EF4-FFF2-40B4-BE49-F238E27FC236}">
                <a16:creationId xmlns:a16="http://schemas.microsoft.com/office/drawing/2014/main" id="{F5E22AF3-E137-E043-940B-8CB41830B4B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490375" y="4663044"/>
            <a:ext cx="1461955" cy="301281"/>
          </a:xfrm>
          <a:prstGeom prst="rect">
            <a:avLst/>
          </a:prstGeom>
        </p:spPr>
      </p:pic>
      <p:sp>
        <p:nvSpPr>
          <p:cNvPr id="3" name="Text Placeholder 2">
            <a:extLst>
              <a:ext uri="{FF2B5EF4-FFF2-40B4-BE49-F238E27FC236}">
                <a16:creationId xmlns:a16="http://schemas.microsoft.com/office/drawing/2014/main" id="{AC4F236F-687F-884C-A9D9-F6CE56F4FA28}"/>
              </a:ext>
            </a:extLst>
          </p:cNvPr>
          <p:cNvSpPr>
            <a:spLocks noGrp="1"/>
          </p:cNvSpPr>
          <p:nvPr>
            <p:ph type="body" sz="quarter" idx="10"/>
          </p:nvPr>
        </p:nvSpPr>
        <p:spPr>
          <a:xfrm>
            <a:off x="438150" y="1228725"/>
            <a:ext cx="8345488" cy="291623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Google Shape;106;p19">
            <a:extLst>
              <a:ext uri="{FF2B5EF4-FFF2-40B4-BE49-F238E27FC236}">
                <a16:creationId xmlns:a16="http://schemas.microsoft.com/office/drawing/2014/main" id="{50966E22-D97C-9947-A4F2-9AE5E814BD94}"/>
              </a:ext>
            </a:extLst>
          </p:cNvPr>
          <p:cNvSpPr txBox="1"/>
          <p:nvPr userDrawn="1"/>
        </p:nvSpPr>
        <p:spPr>
          <a:xfrm>
            <a:off x="437766" y="4832292"/>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106311000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25766" y="3107661"/>
            <a:ext cx="5486400" cy="299001"/>
          </a:xfrm>
          <a:prstGeom prst="rect">
            <a:avLst/>
          </a:prstGeom>
        </p:spPr>
        <p:txBody>
          <a:bodyPr lIns="91420" tIns="45710" rIns="91420" bIns="45710"/>
          <a:lstStyle>
            <a:lvl1pPr marL="0" indent="0">
              <a:spcBef>
                <a:spcPts val="6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6" y="1653702"/>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dirty="0"/>
              <a:t>Presentation Title Goes Here</a:t>
            </a:r>
            <a:endParaRPr lang="en-US" dirty="0"/>
          </a:p>
        </p:txBody>
      </p:sp>
      <p:sp>
        <p:nvSpPr>
          <p:cNvPr id="66" name="Freeform 65">
            <a:extLst>
              <a:ext uri="{FF2B5EF4-FFF2-40B4-BE49-F238E27FC236}">
                <a16:creationId xmlns:a16="http://schemas.microsoft.com/office/drawing/2014/main" id="{DDAEF4F6-E358-4249-AAEE-917895E8A324}"/>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accent2"/>
          </a:solidFill>
          <a:ln w="9525" cap="flat">
            <a:noFill/>
            <a:prstDash val="solid"/>
            <a:miter/>
          </a:ln>
        </p:spPr>
        <p:txBody>
          <a:bodyPr rtlCol="0" anchor="ctr"/>
          <a:lstStyle/>
          <a:p>
            <a:endParaRPr lang="en-US"/>
          </a:p>
        </p:txBody>
      </p:sp>
      <p:grpSp>
        <p:nvGrpSpPr>
          <p:cNvPr id="21" name="Group 20">
            <a:extLst>
              <a:ext uri="{FF2B5EF4-FFF2-40B4-BE49-F238E27FC236}">
                <a16:creationId xmlns:a16="http://schemas.microsoft.com/office/drawing/2014/main" id="{9EF52F52-5158-C54A-BF8D-78789828C50E}"/>
              </a:ext>
            </a:extLst>
          </p:cNvPr>
          <p:cNvGrpSpPr/>
          <p:nvPr userDrawn="1"/>
        </p:nvGrpSpPr>
        <p:grpSpPr>
          <a:xfrm>
            <a:off x="469642" y="391308"/>
            <a:ext cx="2033863" cy="422624"/>
            <a:chOff x="469642" y="391308"/>
            <a:chExt cx="2033863" cy="422624"/>
          </a:xfrm>
        </p:grpSpPr>
        <p:sp>
          <p:nvSpPr>
            <p:cNvPr id="22" name="Freeform 21">
              <a:extLst>
                <a:ext uri="{FF2B5EF4-FFF2-40B4-BE49-F238E27FC236}">
                  <a16:creationId xmlns:a16="http://schemas.microsoft.com/office/drawing/2014/main" id="{91F6CDD0-0B52-D84D-A9B4-A03A1EF6425B}"/>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3" name="Freeform 6">
              <a:extLst>
                <a:ext uri="{FF2B5EF4-FFF2-40B4-BE49-F238E27FC236}">
                  <a16:creationId xmlns:a16="http://schemas.microsoft.com/office/drawing/2014/main" id="{95B8EF4D-5B92-2C49-83DF-7EC344CF45C1}"/>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38579630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1_Blank - logo">
    <p:bg>
      <p:bgPr>
        <a:solidFill>
          <a:schemeClr val="bg1"/>
        </a:solidFill>
        <a:effectLst/>
      </p:bgPr>
    </p:bg>
    <p:spTree>
      <p:nvGrpSpPr>
        <p:cNvPr id="1" name=""/>
        <p:cNvGrpSpPr/>
        <p:nvPr/>
      </p:nvGrpSpPr>
      <p:grpSpPr>
        <a:xfrm>
          <a:off x="0" y="0"/>
          <a:ext cx="0" cy="0"/>
          <a:chOff x="0" y="0"/>
          <a:chExt cx="0" cy="0"/>
        </a:xfrm>
      </p:grpSpPr>
      <p:pic>
        <p:nvPicPr>
          <p:cNvPr id="4" name="Picture 3" descr="A picture containing drawing, light&#10;&#10;Description automatically generated">
            <a:extLst>
              <a:ext uri="{FF2B5EF4-FFF2-40B4-BE49-F238E27FC236}">
                <a16:creationId xmlns:a16="http://schemas.microsoft.com/office/drawing/2014/main" id="{8E57315E-FEC6-3240-BBDA-103F52A2775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sp>
        <p:nvSpPr>
          <p:cNvPr id="6" name="Google Shape;106;p19">
            <a:extLst>
              <a:ext uri="{FF2B5EF4-FFF2-40B4-BE49-F238E27FC236}">
                <a16:creationId xmlns:a16="http://schemas.microsoft.com/office/drawing/2014/main" id="{018C93DB-2572-1848-915B-0B6A847302E4}"/>
              </a:ext>
            </a:extLst>
          </p:cNvPr>
          <p:cNvSpPr txBox="1"/>
          <p:nvPr userDrawn="1"/>
        </p:nvSpPr>
        <p:spPr>
          <a:xfrm>
            <a:off x="542193" y="4824054"/>
            <a:ext cx="3339501" cy="15448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spTree>
    <p:extLst>
      <p:ext uri="{BB962C8B-B14F-4D97-AF65-F5344CB8AC3E}">
        <p14:creationId xmlns:p14="http://schemas.microsoft.com/office/powerpoint/2010/main" val="2062066088"/>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spcBef>
                <a:spcPts val="900"/>
              </a:spcBef>
              <a:buFont typeface="Arial" panose="020B0604020202020204" pitchFamily="34" charset="0"/>
              <a:buNone/>
              <a:defRPr sz="2200" b="0" i="0" baseline="0">
                <a:solidFill>
                  <a:schemeClr val="accent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dirty="0"/>
              <a:t>Presentation Title Goes Here</a:t>
            </a:r>
            <a:endParaRPr lang="en-US" dirty="0"/>
          </a:p>
        </p:txBody>
      </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grpSp>
        <p:nvGrpSpPr>
          <p:cNvPr id="21" name="Group 20">
            <a:extLst>
              <a:ext uri="{FF2B5EF4-FFF2-40B4-BE49-F238E27FC236}">
                <a16:creationId xmlns:a16="http://schemas.microsoft.com/office/drawing/2014/main" id="{B58B5BCF-8488-9B43-B8D8-AEB6DE60BA44}"/>
              </a:ext>
            </a:extLst>
          </p:cNvPr>
          <p:cNvGrpSpPr/>
          <p:nvPr userDrawn="1"/>
        </p:nvGrpSpPr>
        <p:grpSpPr>
          <a:xfrm>
            <a:off x="469642" y="391308"/>
            <a:ext cx="2033863" cy="422624"/>
            <a:chOff x="469642" y="391308"/>
            <a:chExt cx="2033863" cy="422624"/>
          </a:xfrm>
        </p:grpSpPr>
        <p:sp>
          <p:nvSpPr>
            <p:cNvPr id="22" name="Freeform 21">
              <a:extLst>
                <a:ext uri="{FF2B5EF4-FFF2-40B4-BE49-F238E27FC236}">
                  <a16:creationId xmlns:a16="http://schemas.microsoft.com/office/drawing/2014/main" id="{7B0DD1FF-A6A5-4645-9EFA-D5DA7D256D54}"/>
                </a:ext>
              </a:extLst>
            </p:cNvPr>
            <p:cNvSpPr/>
            <p:nvPr/>
          </p:nvSpPr>
          <p:spPr>
            <a:xfrm>
              <a:off x="1385425" y="544652"/>
              <a:ext cx="1118080" cy="269280"/>
            </a:xfrm>
            <a:custGeom>
              <a:avLst/>
              <a:gdLst>
                <a:gd name="connsiteX0" fmla="*/ 1033673 w 1118080"/>
                <a:gd name="connsiteY0" fmla="*/ 87877 h 269280"/>
                <a:gd name="connsiteX1" fmla="*/ 987060 w 1118080"/>
                <a:gd name="connsiteY1" fmla="*/ 108590 h 269280"/>
                <a:gd name="connsiteX2" fmla="*/ 968163 w 1118080"/>
                <a:gd name="connsiteY2" fmla="*/ 158806 h 269280"/>
                <a:gd name="connsiteX3" fmla="*/ 1097293 w 1118080"/>
                <a:gd name="connsiteY3" fmla="*/ 158806 h 269280"/>
                <a:gd name="connsiteX4" fmla="*/ 1075247 w 1118080"/>
                <a:gd name="connsiteY4" fmla="*/ 102941 h 269280"/>
                <a:gd name="connsiteX5" fmla="*/ 1033673 w 1118080"/>
                <a:gd name="connsiteY5" fmla="*/ 87877 h 269280"/>
                <a:gd name="connsiteX6" fmla="*/ 319361 w 1118080"/>
                <a:gd name="connsiteY6" fmla="*/ 87877 h 269280"/>
                <a:gd name="connsiteX7" fmla="*/ 272748 w 1118080"/>
                <a:gd name="connsiteY7" fmla="*/ 108590 h 269280"/>
                <a:gd name="connsiteX8" fmla="*/ 253851 w 1118080"/>
                <a:gd name="connsiteY8" fmla="*/ 158806 h 269280"/>
                <a:gd name="connsiteX9" fmla="*/ 382981 w 1118080"/>
                <a:gd name="connsiteY9" fmla="*/ 158806 h 269280"/>
                <a:gd name="connsiteX10" fmla="*/ 360935 w 1118080"/>
                <a:gd name="connsiteY10" fmla="*/ 102941 h 269280"/>
                <a:gd name="connsiteX11" fmla="*/ 319361 w 1118080"/>
                <a:gd name="connsiteY11" fmla="*/ 87877 h 269280"/>
                <a:gd name="connsiteX12" fmla="*/ 642503 w 1118080"/>
                <a:gd name="connsiteY12" fmla="*/ 77206 h 269280"/>
                <a:gd name="connsiteX13" fmla="*/ 661400 w 1118080"/>
                <a:gd name="connsiteY13" fmla="*/ 77206 h 269280"/>
                <a:gd name="connsiteX14" fmla="*/ 661400 w 1118080"/>
                <a:gd name="connsiteY14" fmla="*/ 203372 h 269280"/>
                <a:gd name="connsiteX15" fmla="*/ 676518 w 1118080"/>
                <a:gd name="connsiteY15" fmla="*/ 241662 h 269280"/>
                <a:gd name="connsiteX16" fmla="*/ 710533 w 1118080"/>
                <a:gd name="connsiteY16" fmla="*/ 252332 h 269280"/>
                <a:gd name="connsiteX17" fmla="*/ 752737 w 1118080"/>
                <a:gd name="connsiteY17" fmla="*/ 232874 h 269280"/>
                <a:gd name="connsiteX18" fmla="*/ 766594 w 1118080"/>
                <a:gd name="connsiteY18" fmla="*/ 191446 h 269280"/>
                <a:gd name="connsiteX19" fmla="*/ 766594 w 1118080"/>
                <a:gd name="connsiteY19" fmla="*/ 77206 h 269280"/>
                <a:gd name="connsiteX20" fmla="*/ 786122 w 1118080"/>
                <a:gd name="connsiteY20" fmla="*/ 77206 h 269280"/>
                <a:gd name="connsiteX21" fmla="*/ 786122 w 1118080"/>
                <a:gd name="connsiteY21" fmla="*/ 263631 h 269280"/>
                <a:gd name="connsiteX22" fmla="*/ 770374 w 1118080"/>
                <a:gd name="connsiteY22" fmla="*/ 263631 h 269280"/>
                <a:gd name="connsiteX23" fmla="*/ 767854 w 1118080"/>
                <a:gd name="connsiteY23" fmla="*/ 234129 h 269280"/>
                <a:gd name="connsiteX24" fmla="*/ 738878 w 1118080"/>
                <a:gd name="connsiteY24" fmla="*/ 261748 h 269280"/>
                <a:gd name="connsiteX25" fmla="*/ 706753 w 1118080"/>
                <a:gd name="connsiteY25" fmla="*/ 269280 h 269280"/>
                <a:gd name="connsiteX26" fmla="*/ 658881 w 1118080"/>
                <a:gd name="connsiteY26" fmla="*/ 250450 h 269280"/>
                <a:gd name="connsiteX27" fmla="*/ 642503 w 1118080"/>
                <a:gd name="connsiteY27" fmla="*/ 203372 h 269280"/>
                <a:gd name="connsiteX28" fmla="*/ 1033673 w 1118080"/>
                <a:gd name="connsiteY28" fmla="*/ 72812 h 269280"/>
                <a:gd name="connsiteX29" fmla="*/ 1096663 w 1118080"/>
                <a:gd name="connsiteY29" fmla="*/ 101686 h 269280"/>
                <a:gd name="connsiteX30" fmla="*/ 1118080 w 1118080"/>
                <a:gd name="connsiteY30" fmla="*/ 176381 h 269280"/>
                <a:gd name="connsiteX31" fmla="*/ 968163 w 1118080"/>
                <a:gd name="connsiteY31" fmla="*/ 176381 h 269280"/>
                <a:gd name="connsiteX32" fmla="*/ 992100 w 1118080"/>
                <a:gd name="connsiteY32" fmla="*/ 237267 h 269280"/>
                <a:gd name="connsiteX33" fmla="*/ 1037453 w 1118080"/>
                <a:gd name="connsiteY33" fmla="*/ 253587 h 269280"/>
                <a:gd name="connsiteX34" fmla="*/ 1075247 w 1118080"/>
                <a:gd name="connsiteY34" fmla="*/ 241661 h 269280"/>
                <a:gd name="connsiteX35" fmla="*/ 1094144 w 1118080"/>
                <a:gd name="connsiteY35" fmla="*/ 212787 h 269280"/>
                <a:gd name="connsiteX36" fmla="*/ 1114301 w 1118080"/>
                <a:gd name="connsiteY36" fmla="*/ 212787 h 269280"/>
                <a:gd name="connsiteX37" fmla="*/ 1084695 w 1118080"/>
                <a:gd name="connsiteY37" fmla="*/ 255470 h 269280"/>
                <a:gd name="connsiteX38" fmla="*/ 1036823 w 1118080"/>
                <a:gd name="connsiteY38" fmla="*/ 269280 h 269280"/>
                <a:gd name="connsiteX39" fmla="*/ 970683 w 1118080"/>
                <a:gd name="connsiteY39" fmla="*/ 240406 h 269280"/>
                <a:gd name="connsiteX40" fmla="*/ 948636 w 1118080"/>
                <a:gd name="connsiteY40" fmla="*/ 170732 h 269280"/>
                <a:gd name="connsiteX41" fmla="*/ 976352 w 1118080"/>
                <a:gd name="connsiteY41" fmla="*/ 94781 h 269280"/>
                <a:gd name="connsiteX42" fmla="*/ 1033673 w 1118080"/>
                <a:gd name="connsiteY42" fmla="*/ 72812 h 269280"/>
                <a:gd name="connsiteX43" fmla="*/ 522192 w 1118080"/>
                <a:gd name="connsiteY43" fmla="*/ 72812 h 269280"/>
                <a:gd name="connsiteX44" fmla="*/ 575104 w 1118080"/>
                <a:gd name="connsiteY44" fmla="*/ 90387 h 269280"/>
                <a:gd name="connsiteX45" fmla="*/ 597780 w 1118080"/>
                <a:gd name="connsiteY45" fmla="*/ 129932 h 269280"/>
                <a:gd name="connsiteX46" fmla="*/ 576364 w 1118080"/>
                <a:gd name="connsiteY46" fmla="*/ 129932 h 269280"/>
                <a:gd name="connsiteX47" fmla="*/ 556207 w 1118080"/>
                <a:gd name="connsiteY47" fmla="*/ 98547 h 269280"/>
                <a:gd name="connsiteX48" fmla="*/ 522192 w 1118080"/>
                <a:gd name="connsiteY48" fmla="*/ 89132 h 269280"/>
                <a:gd name="connsiteX49" fmla="*/ 474319 w 1118080"/>
                <a:gd name="connsiteY49" fmla="*/ 112984 h 269280"/>
                <a:gd name="connsiteX50" fmla="*/ 457941 w 1118080"/>
                <a:gd name="connsiteY50" fmla="*/ 173870 h 269280"/>
                <a:gd name="connsiteX51" fmla="*/ 479358 w 1118080"/>
                <a:gd name="connsiteY51" fmla="*/ 236640 h 269280"/>
                <a:gd name="connsiteX52" fmla="*/ 521562 w 1118080"/>
                <a:gd name="connsiteY52" fmla="*/ 253587 h 269280"/>
                <a:gd name="connsiteX53" fmla="*/ 560616 w 1118080"/>
                <a:gd name="connsiteY53" fmla="*/ 239778 h 269280"/>
                <a:gd name="connsiteX54" fmla="*/ 578883 w 1118080"/>
                <a:gd name="connsiteY54" fmla="*/ 209021 h 269280"/>
                <a:gd name="connsiteX55" fmla="*/ 599040 w 1118080"/>
                <a:gd name="connsiteY55" fmla="*/ 209021 h 269280"/>
                <a:gd name="connsiteX56" fmla="*/ 571324 w 1118080"/>
                <a:gd name="connsiteY56" fmla="*/ 254215 h 269280"/>
                <a:gd name="connsiteX57" fmla="*/ 522192 w 1118080"/>
                <a:gd name="connsiteY57" fmla="*/ 269280 h 269280"/>
                <a:gd name="connsiteX58" fmla="*/ 460461 w 1118080"/>
                <a:gd name="connsiteY58" fmla="*/ 241033 h 269280"/>
                <a:gd name="connsiteX59" fmla="*/ 439044 w 1118080"/>
                <a:gd name="connsiteY59" fmla="*/ 172615 h 269280"/>
                <a:gd name="connsiteX60" fmla="*/ 466130 w 1118080"/>
                <a:gd name="connsiteY60" fmla="*/ 94781 h 269280"/>
                <a:gd name="connsiteX61" fmla="*/ 522192 w 1118080"/>
                <a:gd name="connsiteY61" fmla="*/ 72812 h 269280"/>
                <a:gd name="connsiteX62" fmla="*/ 319361 w 1118080"/>
                <a:gd name="connsiteY62" fmla="*/ 72812 h 269280"/>
                <a:gd name="connsiteX63" fmla="*/ 382351 w 1118080"/>
                <a:gd name="connsiteY63" fmla="*/ 101686 h 269280"/>
                <a:gd name="connsiteX64" fmla="*/ 403768 w 1118080"/>
                <a:gd name="connsiteY64" fmla="*/ 176381 h 269280"/>
                <a:gd name="connsiteX65" fmla="*/ 253851 w 1118080"/>
                <a:gd name="connsiteY65" fmla="*/ 176381 h 269280"/>
                <a:gd name="connsiteX66" fmla="*/ 277787 w 1118080"/>
                <a:gd name="connsiteY66" fmla="*/ 237267 h 269280"/>
                <a:gd name="connsiteX67" fmla="*/ 323141 w 1118080"/>
                <a:gd name="connsiteY67" fmla="*/ 253587 h 269280"/>
                <a:gd name="connsiteX68" fmla="*/ 360935 w 1118080"/>
                <a:gd name="connsiteY68" fmla="*/ 241661 h 269280"/>
                <a:gd name="connsiteX69" fmla="*/ 379832 w 1118080"/>
                <a:gd name="connsiteY69" fmla="*/ 212787 h 269280"/>
                <a:gd name="connsiteX70" fmla="*/ 399989 w 1118080"/>
                <a:gd name="connsiteY70" fmla="*/ 212787 h 269280"/>
                <a:gd name="connsiteX71" fmla="*/ 370383 w 1118080"/>
                <a:gd name="connsiteY71" fmla="*/ 255470 h 269280"/>
                <a:gd name="connsiteX72" fmla="*/ 322511 w 1118080"/>
                <a:gd name="connsiteY72" fmla="*/ 269280 h 269280"/>
                <a:gd name="connsiteX73" fmla="*/ 256371 w 1118080"/>
                <a:gd name="connsiteY73" fmla="*/ 240406 h 269280"/>
                <a:gd name="connsiteX74" fmla="*/ 234324 w 1118080"/>
                <a:gd name="connsiteY74" fmla="*/ 170732 h 269280"/>
                <a:gd name="connsiteX75" fmla="*/ 262040 w 1118080"/>
                <a:gd name="connsiteY75" fmla="*/ 94781 h 269280"/>
                <a:gd name="connsiteX76" fmla="*/ 319361 w 1118080"/>
                <a:gd name="connsiteY76" fmla="*/ 72812 h 269280"/>
                <a:gd name="connsiteX77" fmla="*/ 911472 w 1118080"/>
                <a:gd name="connsiteY77" fmla="*/ 71557 h 269280"/>
                <a:gd name="connsiteX78" fmla="*/ 930999 w 1118080"/>
                <a:gd name="connsiteY78" fmla="*/ 74696 h 269280"/>
                <a:gd name="connsiteX79" fmla="*/ 930999 w 1118080"/>
                <a:gd name="connsiteY79" fmla="*/ 93526 h 269280"/>
                <a:gd name="connsiteX80" fmla="*/ 910842 w 1118080"/>
                <a:gd name="connsiteY80" fmla="*/ 90388 h 269280"/>
                <a:gd name="connsiteX81" fmla="*/ 873678 w 1118080"/>
                <a:gd name="connsiteY81" fmla="*/ 111729 h 269280"/>
                <a:gd name="connsiteX82" fmla="*/ 860450 w 1118080"/>
                <a:gd name="connsiteY82" fmla="*/ 161317 h 269280"/>
                <a:gd name="connsiteX83" fmla="*/ 860450 w 1118080"/>
                <a:gd name="connsiteY83" fmla="*/ 263631 h 269280"/>
                <a:gd name="connsiteX84" fmla="*/ 859820 w 1118080"/>
                <a:gd name="connsiteY84" fmla="*/ 263631 h 269280"/>
                <a:gd name="connsiteX85" fmla="*/ 840293 w 1118080"/>
                <a:gd name="connsiteY85" fmla="*/ 263631 h 269280"/>
                <a:gd name="connsiteX86" fmla="*/ 840293 w 1118080"/>
                <a:gd name="connsiteY86" fmla="*/ 77206 h 269280"/>
                <a:gd name="connsiteX87" fmla="*/ 856040 w 1118080"/>
                <a:gd name="connsiteY87" fmla="*/ 77206 h 269280"/>
                <a:gd name="connsiteX88" fmla="*/ 859190 w 1118080"/>
                <a:gd name="connsiteY88" fmla="*/ 112985 h 269280"/>
                <a:gd name="connsiteX89" fmla="*/ 911472 w 1118080"/>
                <a:gd name="connsiteY89" fmla="*/ 71557 h 269280"/>
                <a:gd name="connsiteX90" fmla="*/ 100155 w 1118080"/>
                <a:gd name="connsiteY90" fmla="*/ 0 h 269280"/>
                <a:gd name="connsiteX91" fmla="*/ 168185 w 1118080"/>
                <a:gd name="connsiteY91" fmla="*/ 19458 h 269280"/>
                <a:gd name="connsiteX92" fmla="*/ 197161 w 1118080"/>
                <a:gd name="connsiteY92" fmla="*/ 64652 h 269280"/>
                <a:gd name="connsiteX93" fmla="*/ 176373 w 1118080"/>
                <a:gd name="connsiteY93" fmla="*/ 64652 h 269280"/>
                <a:gd name="connsiteX94" fmla="*/ 148658 w 1118080"/>
                <a:gd name="connsiteY94" fmla="*/ 28246 h 269280"/>
                <a:gd name="connsiteX95" fmla="*/ 100155 w 1118080"/>
                <a:gd name="connsiteY95" fmla="*/ 16948 h 269280"/>
                <a:gd name="connsiteX96" fmla="*/ 45983 w 1118080"/>
                <a:gd name="connsiteY96" fmla="*/ 31385 h 269280"/>
                <a:gd name="connsiteX97" fmla="*/ 31495 w 1118080"/>
                <a:gd name="connsiteY97" fmla="*/ 62141 h 269280"/>
                <a:gd name="connsiteX98" fmla="*/ 47873 w 1118080"/>
                <a:gd name="connsiteY98" fmla="*/ 97292 h 269280"/>
                <a:gd name="connsiteX99" fmla="*/ 104564 w 1118080"/>
                <a:gd name="connsiteY99" fmla="*/ 118006 h 269280"/>
                <a:gd name="connsiteX100" fmla="*/ 179523 w 1118080"/>
                <a:gd name="connsiteY100" fmla="*/ 150646 h 269280"/>
                <a:gd name="connsiteX101" fmla="*/ 197161 w 1118080"/>
                <a:gd name="connsiteY101" fmla="*/ 196468 h 269280"/>
                <a:gd name="connsiteX102" fmla="*/ 168814 w 1118080"/>
                <a:gd name="connsiteY102" fmla="*/ 249821 h 269280"/>
                <a:gd name="connsiteX103" fmla="*/ 100785 w 1118080"/>
                <a:gd name="connsiteY103" fmla="*/ 268025 h 269280"/>
                <a:gd name="connsiteX104" fmla="*/ 30235 w 1118080"/>
                <a:gd name="connsiteY104" fmla="*/ 246683 h 269280"/>
                <a:gd name="connsiteX105" fmla="*/ 0 w 1118080"/>
                <a:gd name="connsiteY105" fmla="*/ 196468 h 269280"/>
                <a:gd name="connsiteX106" fmla="*/ 21417 w 1118080"/>
                <a:gd name="connsiteY106" fmla="*/ 196468 h 269280"/>
                <a:gd name="connsiteX107" fmla="*/ 51023 w 1118080"/>
                <a:gd name="connsiteY107" fmla="*/ 238523 h 269280"/>
                <a:gd name="connsiteX108" fmla="*/ 100785 w 1118080"/>
                <a:gd name="connsiteY108" fmla="*/ 250449 h 269280"/>
                <a:gd name="connsiteX109" fmla="*/ 159366 w 1118080"/>
                <a:gd name="connsiteY109" fmla="*/ 233501 h 269280"/>
                <a:gd name="connsiteX110" fmla="*/ 177633 w 1118080"/>
                <a:gd name="connsiteY110" fmla="*/ 197723 h 269280"/>
                <a:gd name="connsiteX111" fmla="*/ 158106 w 1118080"/>
                <a:gd name="connsiteY111" fmla="*/ 158178 h 269280"/>
                <a:gd name="connsiteX112" fmla="*/ 91336 w 1118080"/>
                <a:gd name="connsiteY112" fmla="*/ 134326 h 269280"/>
                <a:gd name="connsiteX113" fmla="*/ 27086 w 1118080"/>
                <a:gd name="connsiteY113" fmla="*/ 105452 h 269280"/>
                <a:gd name="connsiteX114" fmla="*/ 11338 w 1118080"/>
                <a:gd name="connsiteY114" fmla="*/ 63397 h 269280"/>
                <a:gd name="connsiteX115" fmla="*/ 37164 w 1118080"/>
                <a:gd name="connsiteY115" fmla="*/ 15692 h 269280"/>
                <a:gd name="connsiteX116" fmla="*/ 100155 w 1118080"/>
                <a:gd name="connsiteY116" fmla="*/ 0 h 26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118080" h="269280">
                  <a:moveTo>
                    <a:pt x="1033673" y="87877"/>
                  </a:moveTo>
                  <a:cubicBezTo>
                    <a:pt x="1014776" y="87877"/>
                    <a:pt x="999028" y="94781"/>
                    <a:pt x="987060" y="108590"/>
                  </a:cubicBezTo>
                  <a:cubicBezTo>
                    <a:pt x="976352" y="121144"/>
                    <a:pt x="970053" y="138092"/>
                    <a:pt x="968163" y="158806"/>
                  </a:cubicBezTo>
                  <a:lnTo>
                    <a:pt x="1097293" y="158806"/>
                  </a:lnTo>
                  <a:cubicBezTo>
                    <a:pt x="1096033" y="134326"/>
                    <a:pt x="1088475" y="115495"/>
                    <a:pt x="1075247" y="102941"/>
                  </a:cubicBezTo>
                  <a:cubicBezTo>
                    <a:pt x="1064538" y="92898"/>
                    <a:pt x="1050680" y="87877"/>
                    <a:pt x="1033673" y="87877"/>
                  </a:cubicBezTo>
                  <a:close/>
                  <a:moveTo>
                    <a:pt x="319361" y="87877"/>
                  </a:moveTo>
                  <a:cubicBezTo>
                    <a:pt x="300464" y="87877"/>
                    <a:pt x="284716" y="94781"/>
                    <a:pt x="272748" y="108590"/>
                  </a:cubicBezTo>
                  <a:cubicBezTo>
                    <a:pt x="262040" y="121144"/>
                    <a:pt x="255741" y="138092"/>
                    <a:pt x="253851" y="158806"/>
                  </a:cubicBezTo>
                  <a:lnTo>
                    <a:pt x="382981" y="158806"/>
                  </a:lnTo>
                  <a:cubicBezTo>
                    <a:pt x="381721" y="134326"/>
                    <a:pt x="374163" y="115495"/>
                    <a:pt x="360935" y="102941"/>
                  </a:cubicBezTo>
                  <a:cubicBezTo>
                    <a:pt x="350227" y="92898"/>
                    <a:pt x="335739" y="87877"/>
                    <a:pt x="319361" y="87877"/>
                  </a:cubicBezTo>
                  <a:close/>
                  <a:moveTo>
                    <a:pt x="642503" y="77206"/>
                  </a:moveTo>
                  <a:lnTo>
                    <a:pt x="661400" y="77206"/>
                  </a:lnTo>
                  <a:lnTo>
                    <a:pt x="661400" y="203372"/>
                  </a:lnTo>
                  <a:cubicBezTo>
                    <a:pt x="661400" y="220320"/>
                    <a:pt x="666440" y="233502"/>
                    <a:pt x="676518" y="241662"/>
                  </a:cubicBezTo>
                  <a:cubicBezTo>
                    <a:pt x="684707" y="248566"/>
                    <a:pt x="696045" y="252332"/>
                    <a:pt x="710533" y="252332"/>
                  </a:cubicBezTo>
                  <a:cubicBezTo>
                    <a:pt x="727540" y="252332"/>
                    <a:pt x="742028" y="246055"/>
                    <a:pt x="752737" y="232874"/>
                  </a:cubicBezTo>
                  <a:cubicBezTo>
                    <a:pt x="761555" y="221576"/>
                    <a:pt x="766594" y="207766"/>
                    <a:pt x="766594" y="191446"/>
                  </a:cubicBezTo>
                  <a:lnTo>
                    <a:pt x="766594" y="77206"/>
                  </a:lnTo>
                  <a:lnTo>
                    <a:pt x="786122" y="77206"/>
                  </a:lnTo>
                  <a:lnTo>
                    <a:pt x="786122" y="263631"/>
                  </a:lnTo>
                  <a:lnTo>
                    <a:pt x="770374" y="263631"/>
                  </a:lnTo>
                  <a:lnTo>
                    <a:pt x="767854" y="234129"/>
                  </a:lnTo>
                  <a:cubicBezTo>
                    <a:pt x="760925" y="246055"/>
                    <a:pt x="751477" y="255471"/>
                    <a:pt x="738878" y="261748"/>
                  </a:cubicBezTo>
                  <a:cubicBezTo>
                    <a:pt x="728800" y="266770"/>
                    <a:pt x="718092" y="269280"/>
                    <a:pt x="706753" y="269280"/>
                  </a:cubicBezTo>
                  <a:cubicBezTo>
                    <a:pt x="685967" y="269280"/>
                    <a:pt x="670219" y="263003"/>
                    <a:pt x="658881" y="250450"/>
                  </a:cubicBezTo>
                  <a:cubicBezTo>
                    <a:pt x="648172" y="239151"/>
                    <a:pt x="642503" y="223459"/>
                    <a:pt x="642503" y="203372"/>
                  </a:cubicBezTo>
                  <a:close/>
                  <a:moveTo>
                    <a:pt x="1033673" y="72812"/>
                  </a:moveTo>
                  <a:cubicBezTo>
                    <a:pt x="1060759" y="72812"/>
                    <a:pt x="1081546" y="82227"/>
                    <a:pt x="1096663" y="101686"/>
                  </a:cubicBezTo>
                  <a:cubicBezTo>
                    <a:pt x="1110521" y="119261"/>
                    <a:pt x="1118080" y="144369"/>
                    <a:pt x="1118080" y="176381"/>
                  </a:cubicBezTo>
                  <a:lnTo>
                    <a:pt x="968163" y="176381"/>
                  </a:lnTo>
                  <a:cubicBezTo>
                    <a:pt x="969423" y="203372"/>
                    <a:pt x="976982" y="223458"/>
                    <a:pt x="992100" y="237267"/>
                  </a:cubicBezTo>
                  <a:cubicBezTo>
                    <a:pt x="1004068" y="247938"/>
                    <a:pt x="1019815" y="253587"/>
                    <a:pt x="1037453" y="253587"/>
                  </a:cubicBezTo>
                  <a:cubicBezTo>
                    <a:pt x="1052570" y="253587"/>
                    <a:pt x="1065168" y="249821"/>
                    <a:pt x="1075247" y="241661"/>
                  </a:cubicBezTo>
                  <a:cubicBezTo>
                    <a:pt x="1084695" y="233501"/>
                    <a:pt x="1090994" y="224086"/>
                    <a:pt x="1094144" y="212787"/>
                  </a:cubicBezTo>
                  <a:lnTo>
                    <a:pt x="1114301" y="212787"/>
                  </a:lnTo>
                  <a:cubicBezTo>
                    <a:pt x="1109262" y="230990"/>
                    <a:pt x="1099813" y="245427"/>
                    <a:pt x="1084695" y="255470"/>
                  </a:cubicBezTo>
                  <a:cubicBezTo>
                    <a:pt x="1071468" y="264258"/>
                    <a:pt x="1055090" y="269280"/>
                    <a:pt x="1036823" y="269280"/>
                  </a:cubicBezTo>
                  <a:cubicBezTo>
                    <a:pt x="1009107" y="269280"/>
                    <a:pt x="986430" y="259864"/>
                    <a:pt x="970683" y="240406"/>
                  </a:cubicBezTo>
                  <a:cubicBezTo>
                    <a:pt x="955565" y="222830"/>
                    <a:pt x="948636" y="199606"/>
                    <a:pt x="948636" y="170732"/>
                  </a:cubicBezTo>
                  <a:cubicBezTo>
                    <a:pt x="948636" y="138092"/>
                    <a:pt x="958085" y="112356"/>
                    <a:pt x="976352" y="94781"/>
                  </a:cubicBezTo>
                  <a:cubicBezTo>
                    <a:pt x="991470" y="79717"/>
                    <a:pt x="1010367" y="72812"/>
                    <a:pt x="1033673" y="72812"/>
                  </a:cubicBezTo>
                  <a:close/>
                  <a:moveTo>
                    <a:pt x="522192" y="72812"/>
                  </a:moveTo>
                  <a:cubicBezTo>
                    <a:pt x="543608" y="72812"/>
                    <a:pt x="561246" y="78461"/>
                    <a:pt x="575104" y="90387"/>
                  </a:cubicBezTo>
                  <a:cubicBezTo>
                    <a:pt x="587072" y="100431"/>
                    <a:pt x="594631" y="113612"/>
                    <a:pt x="597780" y="129932"/>
                  </a:cubicBezTo>
                  <a:lnTo>
                    <a:pt x="576364" y="129932"/>
                  </a:lnTo>
                  <a:cubicBezTo>
                    <a:pt x="573844" y="116751"/>
                    <a:pt x="567545" y="106080"/>
                    <a:pt x="556207" y="98547"/>
                  </a:cubicBezTo>
                  <a:cubicBezTo>
                    <a:pt x="546758" y="92270"/>
                    <a:pt x="535420" y="89132"/>
                    <a:pt x="522192" y="89132"/>
                  </a:cubicBezTo>
                  <a:cubicBezTo>
                    <a:pt x="502035" y="89132"/>
                    <a:pt x="485657" y="97292"/>
                    <a:pt x="474319" y="112984"/>
                  </a:cubicBezTo>
                  <a:cubicBezTo>
                    <a:pt x="463611" y="128049"/>
                    <a:pt x="457941" y="148135"/>
                    <a:pt x="457941" y="173870"/>
                  </a:cubicBezTo>
                  <a:cubicBezTo>
                    <a:pt x="457941" y="201489"/>
                    <a:pt x="464870" y="222830"/>
                    <a:pt x="479358" y="236640"/>
                  </a:cubicBezTo>
                  <a:cubicBezTo>
                    <a:pt x="490696" y="247938"/>
                    <a:pt x="504554" y="253587"/>
                    <a:pt x="521562" y="253587"/>
                  </a:cubicBezTo>
                  <a:cubicBezTo>
                    <a:pt x="537309" y="253587"/>
                    <a:pt x="549908" y="249193"/>
                    <a:pt x="560616" y="239778"/>
                  </a:cubicBezTo>
                  <a:cubicBezTo>
                    <a:pt x="571324" y="230990"/>
                    <a:pt x="576993" y="220947"/>
                    <a:pt x="578883" y="209021"/>
                  </a:cubicBezTo>
                  <a:lnTo>
                    <a:pt x="599040" y="209021"/>
                  </a:lnTo>
                  <a:cubicBezTo>
                    <a:pt x="595890" y="227852"/>
                    <a:pt x="586442" y="242916"/>
                    <a:pt x="571324" y="254215"/>
                  </a:cubicBezTo>
                  <a:cubicBezTo>
                    <a:pt x="557466" y="264258"/>
                    <a:pt x="541089" y="269280"/>
                    <a:pt x="522192" y="269280"/>
                  </a:cubicBezTo>
                  <a:cubicBezTo>
                    <a:pt x="496365" y="269280"/>
                    <a:pt x="475579" y="259864"/>
                    <a:pt x="460461" y="241033"/>
                  </a:cubicBezTo>
                  <a:cubicBezTo>
                    <a:pt x="446603" y="224086"/>
                    <a:pt x="439044" y="200861"/>
                    <a:pt x="439044" y="172615"/>
                  </a:cubicBezTo>
                  <a:cubicBezTo>
                    <a:pt x="439044" y="138719"/>
                    <a:pt x="447863" y="112984"/>
                    <a:pt x="466130" y="94781"/>
                  </a:cubicBezTo>
                  <a:cubicBezTo>
                    <a:pt x="481248" y="80344"/>
                    <a:pt x="499515" y="72812"/>
                    <a:pt x="522192" y="72812"/>
                  </a:cubicBezTo>
                  <a:close/>
                  <a:moveTo>
                    <a:pt x="319361" y="72812"/>
                  </a:moveTo>
                  <a:cubicBezTo>
                    <a:pt x="346447" y="72812"/>
                    <a:pt x="367234" y="82227"/>
                    <a:pt x="382351" y="101686"/>
                  </a:cubicBezTo>
                  <a:cubicBezTo>
                    <a:pt x="396209" y="119261"/>
                    <a:pt x="403768" y="144369"/>
                    <a:pt x="403768" y="176381"/>
                  </a:cubicBezTo>
                  <a:lnTo>
                    <a:pt x="253851" y="176381"/>
                  </a:lnTo>
                  <a:cubicBezTo>
                    <a:pt x="255111" y="203372"/>
                    <a:pt x="262670" y="223458"/>
                    <a:pt x="277787" y="237267"/>
                  </a:cubicBezTo>
                  <a:cubicBezTo>
                    <a:pt x="289756" y="247938"/>
                    <a:pt x="305503" y="253587"/>
                    <a:pt x="323141" y="253587"/>
                  </a:cubicBezTo>
                  <a:cubicBezTo>
                    <a:pt x="338258" y="253587"/>
                    <a:pt x="350856" y="249821"/>
                    <a:pt x="360935" y="241661"/>
                  </a:cubicBezTo>
                  <a:cubicBezTo>
                    <a:pt x="370383" y="233501"/>
                    <a:pt x="376683" y="224086"/>
                    <a:pt x="379832" y="212787"/>
                  </a:cubicBezTo>
                  <a:lnTo>
                    <a:pt x="399989" y="212787"/>
                  </a:lnTo>
                  <a:cubicBezTo>
                    <a:pt x="394950" y="230990"/>
                    <a:pt x="385501" y="245427"/>
                    <a:pt x="370383" y="255470"/>
                  </a:cubicBezTo>
                  <a:cubicBezTo>
                    <a:pt x="357155" y="264258"/>
                    <a:pt x="340778" y="269280"/>
                    <a:pt x="322511" y="269280"/>
                  </a:cubicBezTo>
                  <a:cubicBezTo>
                    <a:pt x="294795" y="269280"/>
                    <a:pt x="272118" y="259864"/>
                    <a:pt x="256371" y="240406"/>
                  </a:cubicBezTo>
                  <a:cubicBezTo>
                    <a:pt x="241253" y="222830"/>
                    <a:pt x="234324" y="199606"/>
                    <a:pt x="234324" y="170732"/>
                  </a:cubicBezTo>
                  <a:cubicBezTo>
                    <a:pt x="234324" y="138092"/>
                    <a:pt x="243773" y="112356"/>
                    <a:pt x="262040" y="94781"/>
                  </a:cubicBezTo>
                  <a:cubicBezTo>
                    <a:pt x="277157" y="79717"/>
                    <a:pt x="296055" y="72812"/>
                    <a:pt x="319361" y="72812"/>
                  </a:cubicBezTo>
                  <a:close/>
                  <a:moveTo>
                    <a:pt x="911472" y="71557"/>
                  </a:moveTo>
                  <a:cubicBezTo>
                    <a:pt x="918401" y="71557"/>
                    <a:pt x="925330" y="72812"/>
                    <a:pt x="930999" y="74696"/>
                  </a:cubicBezTo>
                  <a:lnTo>
                    <a:pt x="930999" y="93526"/>
                  </a:lnTo>
                  <a:cubicBezTo>
                    <a:pt x="923440" y="91643"/>
                    <a:pt x="916511" y="90388"/>
                    <a:pt x="910842" y="90388"/>
                  </a:cubicBezTo>
                  <a:cubicBezTo>
                    <a:pt x="895725" y="90388"/>
                    <a:pt x="883126" y="97292"/>
                    <a:pt x="873678" y="111729"/>
                  </a:cubicBezTo>
                  <a:cubicBezTo>
                    <a:pt x="864859" y="124911"/>
                    <a:pt x="860450" y="141231"/>
                    <a:pt x="860450" y="161317"/>
                  </a:cubicBezTo>
                  <a:lnTo>
                    <a:pt x="860450" y="263631"/>
                  </a:lnTo>
                  <a:lnTo>
                    <a:pt x="859820" y="263631"/>
                  </a:lnTo>
                  <a:lnTo>
                    <a:pt x="840293" y="263631"/>
                  </a:lnTo>
                  <a:lnTo>
                    <a:pt x="840293" y="77206"/>
                  </a:lnTo>
                  <a:lnTo>
                    <a:pt x="856040" y="77206"/>
                  </a:lnTo>
                  <a:lnTo>
                    <a:pt x="859190" y="112985"/>
                  </a:lnTo>
                  <a:cubicBezTo>
                    <a:pt x="869269" y="85366"/>
                    <a:pt x="886276" y="71557"/>
                    <a:pt x="911472" y="71557"/>
                  </a:cubicBezTo>
                  <a:close/>
                  <a:moveTo>
                    <a:pt x="100155" y="0"/>
                  </a:moveTo>
                  <a:cubicBezTo>
                    <a:pt x="127871" y="0"/>
                    <a:pt x="150547" y="6277"/>
                    <a:pt x="168185" y="19458"/>
                  </a:cubicBezTo>
                  <a:cubicBezTo>
                    <a:pt x="183932" y="30757"/>
                    <a:pt x="193381" y="45821"/>
                    <a:pt x="197161" y="64652"/>
                  </a:cubicBezTo>
                  <a:lnTo>
                    <a:pt x="176373" y="64652"/>
                  </a:lnTo>
                  <a:cubicBezTo>
                    <a:pt x="172594" y="48960"/>
                    <a:pt x="163776" y="37034"/>
                    <a:pt x="148658" y="28246"/>
                  </a:cubicBezTo>
                  <a:cubicBezTo>
                    <a:pt x="135429" y="20714"/>
                    <a:pt x="119682" y="16948"/>
                    <a:pt x="100155" y="16948"/>
                  </a:cubicBezTo>
                  <a:cubicBezTo>
                    <a:pt x="76219" y="16948"/>
                    <a:pt x="57951" y="21969"/>
                    <a:pt x="45983" y="31385"/>
                  </a:cubicBezTo>
                  <a:cubicBezTo>
                    <a:pt x="35905" y="39545"/>
                    <a:pt x="31495" y="49588"/>
                    <a:pt x="31495" y="62141"/>
                  </a:cubicBezTo>
                  <a:cubicBezTo>
                    <a:pt x="31495" y="77206"/>
                    <a:pt x="37164" y="89132"/>
                    <a:pt x="47873" y="97292"/>
                  </a:cubicBezTo>
                  <a:cubicBezTo>
                    <a:pt x="58581" y="105452"/>
                    <a:pt x="77479" y="112357"/>
                    <a:pt x="104564" y="118006"/>
                  </a:cubicBezTo>
                  <a:cubicBezTo>
                    <a:pt x="140469" y="126166"/>
                    <a:pt x="165665" y="137464"/>
                    <a:pt x="179523" y="150646"/>
                  </a:cubicBezTo>
                  <a:cubicBezTo>
                    <a:pt x="191491" y="161945"/>
                    <a:pt x="197161" y="177637"/>
                    <a:pt x="197161" y="196468"/>
                  </a:cubicBezTo>
                  <a:cubicBezTo>
                    <a:pt x="197161" y="219065"/>
                    <a:pt x="187712" y="236640"/>
                    <a:pt x="168814" y="249821"/>
                  </a:cubicBezTo>
                  <a:cubicBezTo>
                    <a:pt x="151807" y="261748"/>
                    <a:pt x="129131" y="268025"/>
                    <a:pt x="100785" y="268025"/>
                  </a:cubicBezTo>
                  <a:cubicBezTo>
                    <a:pt x="71809" y="268025"/>
                    <a:pt x="48503" y="261120"/>
                    <a:pt x="30235" y="246683"/>
                  </a:cubicBezTo>
                  <a:cubicBezTo>
                    <a:pt x="13858" y="234129"/>
                    <a:pt x="3779" y="217809"/>
                    <a:pt x="0" y="196468"/>
                  </a:cubicBezTo>
                  <a:lnTo>
                    <a:pt x="21417" y="196468"/>
                  </a:lnTo>
                  <a:cubicBezTo>
                    <a:pt x="25196" y="215298"/>
                    <a:pt x="34645" y="229108"/>
                    <a:pt x="51023" y="238523"/>
                  </a:cubicBezTo>
                  <a:cubicBezTo>
                    <a:pt x="64250" y="246683"/>
                    <a:pt x="81258" y="250449"/>
                    <a:pt x="100785" y="250449"/>
                  </a:cubicBezTo>
                  <a:cubicBezTo>
                    <a:pt x="126611" y="250449"/>
                    <a:pt x="146138" y="244800"/>
                    <a:pt x="159366" y="233501"/>
                  </a:cubicBezTo>
                  <a:cubicBezTo>
                    <a:pt x="171964" y="224713"/>
                    <a:pt x="177633" y="212788"/>
                    <a:pt x="177633" y="197723"/>
                  </a:cubicBezTo>
                  <a:cubicBezTo>
                    <a:pt x="177633" y="180148"/>
                    <a:pt x="171334" y="166966"/>
                    <a:pt x="158106" y="158178"/>
                  </a:cubicBezTo>
                  <a:cubicBezTo>
                    <a:pt x="145508" y="149391"/>
                    <a:pt x="123461" y="141231"/>
                    <a:pt x="91336" y="134326"/>
                  </a:cubicBezTo>
                  <a:cubicBezTo>
                    <a:pt x="61101" y="127421"/>
                    <a:pt x="39684" y="118006"/>
                    <a:pt x="27086" y="105452"/>
                  </a:cubicBezTo>
                  <a:cubicBezTo>
                    <a:pt x="17008" y="94781"/>
                    <a:pt x="11338" y="80972"/>
                    <a:pt x="11338" y="63397"/>
                  </a:cubicBezTo>
                  <a:cubicBezTo>
                    <a:pt x="11338" y="43311"/>
                    <a:pt x="20157" y="26991"/>
                    <a:pt x="37164" y="15692"/>
                  </a:cubicBezTo>
                  <a:cubicBezTo>
                    <a:pt x="52912" y="5022"/>
                    <a:pt x="74329" y="0"/>
                    <a:pt x="100155" y="0"/>
                  </a:cubicBezTo>
                  <a:close/>
                </a:path>
              </a:pathLst>
            </a:custGeom>
            <a:solidFill>
              <a:schemeClr val="accent2"/>
            </a:solidFill>
            <a:ln w="12940" cap="flat">
              <a:noFill/>
              <a:prstDash val="solid"/>
              <a:miter/>
            </a:ln>
          </p:spPr>
          <p:txBody>
            <a:bodyPr wrap="square" rtlCol="0" anchor="ctr">
              <a:noAutofit/>
            </a:bodyPr>
            <a:lstStyle/>
            <a:p>
              <a:endParaRPr lang="en-US"/>
            </a:p>
          </p:txBody>
        </p:sp>
        <p:sp>
          <p:nvSpPr>
            <p:cNvPr id="23" name="Freeform 6">
              <a:extLst>
                <a:ext uri="{FF2B5EF4-FFF2-40B4-BE49-F238E27FC236}">
                  <a16:creationId xmlns:a16="http://schemas.microsoft.com/office/drawing/2014/main" id="{7FE78ADC-AA61-DC48-9235-BFBF2B3CBC18}"/>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0339675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5"/>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4">
              <a:alpha val="50000"/>
            </a:schemeClr>
          </a:solidFill>
          <a:ln w="20071" cap="flat">
            <a:noFill/>
            <a:prstDash val="solid"/>
            <a:miter/>
          </a:ln>
        </p:spPr>
        <p:txBody>
          <a:bodyPr rtlCol="0" anchor="ctr"/>
          <a:lstStyle/>
          <a:p>
            <a:endParaRPr lang="en-US"/>
          </a:p>
        </p:txBody>
      </p:sp>
      <p:grpSp>
        <p:nvGrpSpPr>
          <p:cNvPr id="68" name="Group 67">
            <a:extLst>
              <a:ext uri="{FF2B5EF4-FFF2-40B4-BE49-F238E27FC236}">
                <a16:creationId xmlns:a16="http://schemas.microsoft.com/office/drawing/2014/main" id="{2C8D71F1-F450-3540-B0DB-5E198AFD6884}"/>
              </a:ext>
            </a:extLst>
          </p:cNvPr>
          <p:cNvGrpSpPr/>
          <p:nvPr userDrawn="1"/>
        </p:nvGrpSpPr>
        <p:grpSpPr>
          <a:xfrm>
            <a:off x="282292" y="2563081"/>
            <a:ext cx="3178762" cy="580089"/>
            <a:chOff x="5098310" y="621568"/>
            <a:chExt cx="1477115" cy="269557"/>
          </a:xfrm>
          <a:gradFill>
            <a:gsLst>
              <a:gs pos="18000">
                <a:schemeClr val="accent4">
                  <a:alpha val="8000"/>
                </a:schemeClr>
              </a:gs>
              <a:gs pos="48000">
                <a:schemeClr val="accent4">
                  <a:alpha val="47000"/>
                </a:schemeClr>
              </a:gs>
              <a:gs pos="78000">
                <a:schemeClr val="accent4"/>
              </a:gs>
            </a:gsLst>
            <a:lin ang="600000" scaled="0"/>
          </a:gradFill>
        </p:grpSpPr>
        <p:sp>
          <p:nvSpPr>
            <p:cNvPr id="69" name="Freeform 68">
              <a:extLst>
                <a:ext uri="{FF2B5EF4-FFF2-40B4-BE49-F238E27FC236}">
                  <a16:creationId xmlns:a16="http://schemas.microsoft.com/office/drawing/2014/main" id="{6E61787F-F6EE-7A4C-BEC3-3F8FB657CA58}"/>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96B83B50-0CCF-A845-A364-EA85E6261AFF}"/>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D454FE6A-A3E3-664E-A4C7-74EAC738E1FE}"/>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8D479E64-D1F6-B047-94D5-E82B46763710}"/>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9D6FCB8E-2ABB-764A-9A10-2B11150949E3}"/>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gr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6"/>
            <a:ext cx="1128042" cy="207621"/>
            <a:chOff x="4467257" y="275609"/>
            <a:chExt cx="1102102" cy="202847"/>
          </a:xfrm>
          <a:solidFill>
            <a:schemeClr val="accent1"/>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4" y="531813"/>
            <a:ext cx="4204117" cy="3983038"/>
          </a:xfrm>
          <a:prstGeom prst="rect">
            <a:avLst/>
          </a:prstGeom>
        </p:spPr>
        <p:txBody>
          <a:bodyPr anchor="ctr">
            <a:noAutofit/>
          </a:bodyPr>
          <a:lstStyle>
            <a:lvl1pPr marL="274320" indent="-274320">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dirty="0"/>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8" y="1765818"/>
            <a:ext cx="2145139" cy="667875"/>
          </a:xfrm>
          <a:prstGeom prst="rect">
            <a:avLst/>
          </a:prstGeom>
        </p:spPr>
        <p:txBody>
          <a:bodyPr wrap="none">
            <a:noAutofit/>
          </a:bodyPr>
          <a:lstStyle/>
          <a:p>
            <a:pPr algn="l" defTabSz="684213" rtl="0" eaLnBrk="1" fontAlgn="base" hangingPunct="1">
              <a:lnSpc>
                <a:spcPct val="85000"/>
              </a:lnSpc>
              <a:spcBef>
                <a:spcPct val="0"/>
              </a:spcBef>
              <a:spcAft>
                <a:spcPct val="0"/>
              </a:spcAft>
            </a:pPr>
            <a:r>
              <a:rPr lang="en-US" sz="4400" b="0" i="0" u="none" kern="1200" baseline="0" dirty="0">
                <a:solidFill>
                  <a:schemeClr val="bg1"/>
                </a:solidFill>
                <a:latin typeface="+mj-lt"/>
                <a:cs typeface="CiscoSansTT Thin" charset="0"/>
              </a:rPr>
              <a:t>Agenda</a:t>
            </a:r>
          </a:p>
        </p:txBody>
      </p:sp>
    </p:spTree>
    <p:extLst>
      <p:ext uri="{BB962C8B-B14F-4D97-AF65-F5344CB8AC3E}">
        <p14:creationId xmlns:p14="http://schemas.microsoft.com/office/powerpoint/2010/main" val="10929875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Numbered">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37BE2A8-1232-7B42-A8FF-8C01F6C217FF}"/>
              </a:ext>
            </a:extLst>
          </p:cNvPr>
          <p:cNvSpPr>
            <a:spLocks noGrp="1"/>
          </p:cNvSpPr>
          <p:nvPr>
            <p:ph type="body" sz="quarter" idx="11" hasCustomPrompt="1"/>
          </p:nvPr>
        </p:nvSpPr>
        <p:spPr>
          <a:xfrm>
            <a:off x="4452456" y="762000"/>
            <a:ext cx="4091143" cy="457200"/>
          </a:xfrm>
          <a:prstGeom prst="rect">
            <a:avLst/>
          </a:prstGeo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dirty="0"/>
              <a:t>Insert topic one here</a:t>
            </a:r>
          </a:p>
        </p:txBody>
      </p:sp>
      <p:sp>
        <p:nvSpPr>
          <p:cNvPr id="8" name="Text Placeholder 2">
            <a:extLst>
              <a:ext uri="{FF2B5EF4-FFF2-40B4-BE49-F238E27FC236}">
                <a16:creationId xmlns:a16="http://schemas.microsoft.com/office/drawing/2014/main" id="{59CFFCD8-D895-2840-9936-4EC96F042079}"/>
              </a:ext>
            </a:extLst>
          </p:cNvPr>
          <p:cNvSpPr>
            <a:spLocks noGrp="1" noChangeAspect="1"/>
          </p:cNvSpPr>
          <p:nvPr>
            <p:ph type="body" sz="quarter" idx="12" hasCustomPrompt="1"/>
          </p:nvPr>
        </p:nvSpPr>
        <p:spPr>
          <a:xfrm>
            <a:off x="3967067" y="1550565"/>
            <a:ext cx="393918" cy="393918"/>
          </a:xfrm>
          <a:prstGeom prst="ellipse">
            <a:avLst/>
          </a:prstGeom>
          <a:solidFill>
            <a:schemeClr val="accent2"/>
          </a:solidFill>
          <a:ln w="19050">
            <a:noFill/>
          </a:ln>
        </p:spPr>
        <p:txBody>
          <a:bodyPr wrap="none" anchor="ctr"/>
          <a:lstStyle>
            <a:lvl1pPr marL="0" indent="0" algn="ctr">
              <a:buFontTx/>
              <a:buNone/>
              <a:defRPr sz="1800">
                <a:solidFill>
                  <a:schemeClr val="bg1"/>
                </a:solidFill>
              </a:defRPr>
            </a:lvl1pPr>
          </a:lstStyle>
          <a:p>
            <a:pPr lvl="0"/>
            <a:r>
              <a:rPr lang="en-US" dirty="0"/>
              <a:t>2</a:t>
            </a:r>
          </a:p>
        </p:txBody>
      </p:sp>
      <p:sp>
        <p:nvSpPr>
          <p:cNvPr id="9" name="Text Placeholder 4">
            <a:extLst>
              <a:ext uri="{FF2B5EF4-FFF2-40B4-BE49-F238E27FC236}">
                <a16:creationId xmlns:a16="http://schemas.microsoft.com/office/drawing/2014/main" id="{0DAA98AF-256D-EB4F-8CD2-9F318B8F4F3A}"/>
              </a:ext>
            </a:extLst>
          </p:cNvPr>
          <p:cNvSpPr>
            <a:spLocks noGrp="1"/>
          </p:cNvSpPr>
          <p:nvPr>
            <p:ph type="body" sz="quarter" idx="13" hasCustomPrompt="1"/>
          </p:nvPr>
        </p:nvSpPr>
        <p:spPr>
          <a:xfrm>
            <a:off x="4452456" y="1518924"/>
            <a:ext cx="4091143" cy="457200"/>
          </a:xfrm>
          <a:prstGeom prst="rect">
            <a:avLst/>
          </a:prstGeo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dirty="0"/>
              <a:t>Insert topic two here</a:t>
            </a:r>
          </a:p>
        </p:txBody>
      </p:sp>
      <p:sp>
        <p:nvSpPr>
          <p:cNvPr id="10" name="Text Placeholder 2">
            <a:extLst>
              <a:ext uri="{FF2B5EF4-FFF2-40B4-BE49-F238E27FC236}">
                <a16:creationId xmlns:a16="http://schemas.microsoft.com/office/drawing/2014/main" id="{BF117D28-EE20-D346-B679-B380D9B9E3C2}"/>
              </a:ext>
            </a:extLst>
          </p:cNvPr>
          <p:cNvSpPr>
            <a:spLocks noGrp="1" noChangeAspect="1"/>
          </p:cNvSpPr>
          <p:nvPr>
            <p:ph type="body" sz="quarter" idx="14" hasCustomPrompt="1"/>
          </p:nvPr>
        </p:nvSpPr>
        <p:spPr>
          <a:xfrm>
            <a:off x="3975160" y="2307489"/>
            <a:ext cx="393918" cy="393918"/>
          </a:xfrm>
          <a:prstGeom prst="ellipse">
            <a:avLst/>
          </a:prstGeom>
          <a:solidFill>
            <a:schemeClr val="accent2"/>
          </a:solidFill>
          <a:ln w="19050">
            <a:noFill/>
          </a:ln>
        </p:spPr>
        <p:txBody>
          <a:bodyPr wrap="none" anchor="ctr"/>
          <a:lstStyle>
            <a:lvl1pPr marL="0" indent="0" algn="ctr">
              <a:buFontTx/>
              <a:buNone/>
              <a:defRPr sz="1800">
                <a:solidFill>
                  <a:schemeClr val="bg1"/>
                </a:solidFill>
              </a:defRPr>
            </a:lvl1pPr>
          </a:lstStyle>
          <a:p>
            <a:pPr lvl="0"/>
            <a:r>
              <a:rPr lang="en-US" dirty="0"/>
              <a:t>3</a:t>
            </a:r>
          </a:p>
        </p:txBody>
      </p:sp>
      <p:sp>
        <p:nvSpPr>
          <p:cNvPr id="11" name="Text Placeholder 4">
            <a:extLst>
              <a:ext uri="{FF2B5EF4-FFF2-40B4-BE49-F238E27FC236}">
                <a16:creationId xmlns:a16="http://schemas.microsoft.com/office/drawing/2014/main" id="{CEAB2726-8CF0-0542-A39A-261B71A478C0}"/>
              </a:ext>
            </a:extLst>
          </p:cNvPr>
          <p:cNvSpPr>
            <a:spLocks noGrp="1"/>
          </p:cNvSpPr>
          <p:nvPr>
            <p:ph type="body" sz="quarter" idx="15" hasCustomPrompt="1"/>
          </p:nvPr>
        </p:nvSpPr>
        <p:spPr>
          <a:xfrm>
            <a:off x="4460549" y="2275848"/>
            <a:ext cx="4091143" cy="457200"/>
          </a:xfrm>
          <a:prstGeom prst="rect">
            <a:avLst/>
          </a:prstGeo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dirty="0"/>
              <a:t>Insert topic three here</a:t>
            </a:r>
          </a:p>
        </p:txBody>
      </p:sp>
      <p:sp>
        <p:nvSpPr>
          <p:cNvPr id="12" name="Text Placeholder 2">
            <a:extLst>
              <a:ext uri="{FF2B5EF4-FFF2-40B4-BE49-F238E27FC236}">
                <a16:creationId xmlns:a16="http://schemas.microsoft.com/office/drawing/2014/main" id="{C9D29933-A44D-5946-8923-9ADD691BDC19}"/>
              </a:ext>
            </a:extLst>
          </p:cNvPr>
          <p:cNvSpPr>
            <a:spLocks noGrp="1" noChangeAspect="1"/>
          </p:cNvSpPr>
          <p:nvPr>
            <p:ph type="body" sz="quarter" idx="16" hasCustomPrompt="1"/>
          </p:nvPr>
        </p:nvSpPr>
        <p:spPr>
          <a:xfrm>
            <a:off x="3975160" y="3064413"/>
            <a:ext cx="393918" cy="393918"/>
          </a:xfrm>
          <a:prstGeom prst="ellipse">
            <a:avLst/>
          </a:prstGeom>
          <a:solidFill>
            <a:schemeClr val="accent2"/>
          </a:solidFill>
          <a:ln w="19050">
            <a:noFill/>
          </a:ln>
        </p:spPr>
        <p:txBody>
          <a:bodyPr wrap="none" anchor="ctr"/>
          <a:lstStyle>
            <a:lvl1pPr marL="0" indent="0" algn="ctr">
              <a:buFontTx/>
              <a:buNone/>
              <a:defRPr sz="1800">
                <a:solidFill>
                  <a:schemeClr val="bg1"/>
                </a:solidFill>
              </a:defRPr>
            </a:lvl1pPr>
          </a:lstStyle>
          <a:p>
            <a:pPr lvl="0"/>
            <a:r>
              <a:rPr lang="en-US" dirty="0"/>
              <a:t>4</a:t>
            </a:r>
          </a:p>
        </p:txBody>
      </p:sp>
      <p:sp>
        <p:nvSpPr>
          <p:cNvPr id="13" name="Text Placeholder 4">
            <a:extLst>
              <a:ext uri="{FF2B5EF4-FFF2-40B4-BE49-F238E27FC236}">
                <a16:creationId xmlns:a16="http://schemas.microsoft.com/office/drawing/2014/main" id="{B5205B15-675C-DC4D-B3A4-B878F48FA2E9}"/>
              </a:ext>
            </a:extLst>
          </p:cNvPr>
          <p:cNvSpPr>
            <a:spLocks noGrp="1"/>
          </p:cNvSpPr>
          <p:nvPr>
            <p:ph type="body" sz="quarter" idx="17" hasCustomPrompt="1"/>
          </p:nvPr>
        </p:nvSpPr>
        <p:spPr>
          <a:xfrm>
            <a:off x="4460549" y="3032772"/>
            <a:ext cx="4091143" cy="457200"/>
          </a:xfrm>
          <a:prstGeom prst="rect">
            <a:avLst/>
          </a:prstGeo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dirty="0"/>
              <a:t>Insert topic four here</a:t>
            </a:r>
          </a:p>
        </p:txBody>
      </p:sp>
      <p:sp>
        <p:nvSpPr>
          <p:cNvPr id="14" name="Text Placeholder 2">
            <a:extLst>
              <a:ext uri="{FF2B5EF4-FFF2-40B4-BE49-F238E27FC236}">
                <a16:creationId xmlns:a16="http://schemas.microsoft.com/office/drawing/2014/main" id="{5FE71A7A-C295-EE47-A81F-DADF384F94F0}"/>
              </a:ext>
            </a:extLst>
          </p:cNvPr>
          <p:cNvSpPr>
            <a:spLocks noGrp="1" noChangeAspect="1"/>
          </p:cNvSpPr>
          <p:nvPr>
            <p:ph type="body" sz="quarter" idx="18" hasCustomPrompt="1"/>
          </p:nvPr>
        </p:nvSpPr>
        <p:spPr>
          <a:xfrm>
            <a:off x="3975160" y="3821337"/>
            <a:ext cx="393918" cy="393918"/>
          </a:xfrm>
          <a:prstGeom prst="ellipse">
            <a:avLst/>
          </a:prstGeom>
          <a:solidFill>
            <a:schemeClr val="accent2"/>
          </a:solidFill>
          <a:ln w="19050">
            <a:noFill/>
          </a:ln>
        </p:spPr>
        <p:txBody>
          <a:bodyPr wrap="none" anchor="ctr"/>
          <a:lstStyle>
            <a:lvl1pPr marL="0" indent="0" algn="ctr">
              <a:buFontTx/>
              <a:buNone/>
              <a:defRPr sz="1800">
                <a:solidFill>
                  <a:schemeClr val="bg1"/>
                </a:solidFill>
              </a:defRPr>
            </a:lvl1pPr>
          </a:lstStyle>
          <a:p>
            <a:pPr lvl="0"/>
            <a:r>
              <a:rPr lang="en-US" dirty="0"/>
              <a:t>5</a:t>
            </a:r>
          </a:p>
        </p:txBody>
      </p:sp>
      <p:sp>
        <p:nvSpPr>
          <p:cNvPr id="15" name="Text Placeholder 4">
            <a:extLst>
              <a:ext uri="{FF2B5EF4-FFF2-40B4-BE49-F238E27FC236}">
                <a16:creationId xmlns:a16="http://schemas.microsoft.com/office/drawing/2014/main" id="{0A1588BF-3282-6349-882A-3513E0EC56A9}"/>
              </a:ext>
            </a:extLst>
          </p:cNvPr>
          <p:cNvSpPr>
            <a:spLocks noGrp="1"/>
          </p:cNvSpPr>
          <p:nvPr>
            <p:ph type="body" sz="quarter" idx="19" hasCustomPrompt="1"/>
          </p:nvPr>
        </p:nvSpPr>
        <p:spPr>
          <a:xfrm>
            <a:off x="4460549" y="3789696"/>
            <a:ext cx="4091143" cy="457200"/>
          </a:xfrm>
          <a:prstGeom prst="rect">
            <a:avLst/>
          </a:prstGeo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dirty="0"/>
              <a:t>Insert topic five here</a:t>
            </a:r>
          </a:p>
        </p:txBody>
      </p:sp>
      <p:sp>
        <p:nvSpPr>
          <p:cNvPr id="16" name="Text Placeholder 2">
            <a:extLst>
              <a:ext uri="{FF2B5EF4-FFF2-40B4-BE49-F238E27FC236}">
                <a16:creationId xmlns:a16="http://schemas.microsoft.com/office/drawing/2014/main" id="{11B905EF-54DB-A54E-B9B5-BF39F47D01B6}"/>
              </a:ext>
            </a:extLst>
          </p:cNvPr>
          <p:cNvSpPr>
            <a:spLocks noGrp="1" noChangeAspect="1"/>
          </p:cNvSpPr>
          <p:nvPr>
            <p:ph type="body" sz="quarter" idx="20" hasCustomPrompt="1"/>
          </p:nvPr>
        </p:nvSpPr>
        <p:spPr>
          <a:xfrm>
            <a:off x="3967067" y="793641"/>
            <a:ext cx="393918" cy="393918"/>
          </a:xfrm>
          <a:prstGeom prst="ellipse">
            <a:avLst/>
          </a:prstGeom>
          <a:solidFill>
            <a:schemeClr val="accent2"/>
          </a:solidFill>
          <a:ln w="19050">
            <a:noFill/>
          </a:ln>
        </p:spPr>
        <p:txBody>
          <a:bodyPr wrap="none" anchor="ctr"/>
          <a:lstStyle>
            <a:lvl1pPr marL="0" indent="0" algn="ctr">
              <a:buFontTx/>
              <a:buNone/>
              <a:defRPr sz="1800">
                <a:solidFill>
                  <a:schemeClr val="bg1"/>
                </a:solidFill>
              </a:defRPr>
            </a:lvl1pPr>
          </a:lstStyle>
          <a:p>
            <a:pPr lvl="0"/>
            <a:r>
              <a:rPr lang="en-US" dirty="0"/>
              <a:t>1</a:t>
            </a:r>
          </a:p>
        </p:txBody>
      </p:sp>
      <p:sp>
        <p:nvSpPr>
          <p:cNvPr id="17" name="Rectangle 16">
            <a:extLst>
              <a:ext uri="{FF2B5EF4-FFF2-40B4-BE49-F238E27FC236}">
                <a16:creationId xmlns:a16="http://schemas.microsoft.com/office/drawing/2014/main" id="{22BBA3CB-DC68-E148-9C76-14197C33FCCA}"/>
              </a:ext>
            </a:extLst>
          </p:cNvPr>
          <p:cNvSpPr/>
          <p:nvPr userDrawn="1"/>
        </p:nvSpPr>
        <p:spPr>
          <a:xfrm>
            <a:off x="461998" y="2109766"/>
            <a:ext cx="2145139" cy="667875"/>
          </a:xfrm>
          <a:prstGeom prst="rect">
            <a:avLst/>
          </a:prstGeom>
        </p:spPr>
        <p:txBody>
          <a:bodyPr wrap="none">
            <a:spAutoFit/>
          </a:bodyPr>
          <a:lstStyle/>
          <a:p>
            <a:pPr algn="l" defTabSz="684213" rtl="0" eaLnBrk="1" fontAlgn="base" hangingPunct="1">
              <a:lnSpc>
                <a:spcPct val="85000"/>
              </a:lnSpc>
              <a:spcBef>
                <a:spcPct val="0"/>
              </a:spcBef>
              <a:spcAft>
                <a:spcPct val="0"/>
              </a:spcAft>
            </a:pPr>
            <a:r>
              <a:rPr lang="en-US" sz="4400" b="0" i="0" u="none" kern="1200" baseline="0" dirty="0">
                <a:solidFill>
                  <a:schemeClr val="bg1"/>
                </a:solidFill>
                <a:latin typeface="+mj-lt"/>
                <a:cs typeface="CiscoSansTT Thin" charset="0"/>
              </a:rPr>
              <a:t>Agenda</a:t>
            </a:r>
          </a:p>
        </p:txBody>
      </p:sp>
    </p:spTree>
    <p:extLst>
      <p:ext uri="{BB962C8B-B14F-4D97-AF65-F5344CB8AC3E}">
        <p14:creationId xmlns:p14="http://schemas.microsoft.com/office/powerpoint/2010/main" val="2711619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6400800"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371219151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4532"/>
            <a:ext cx="8348472" cy="3313112"/>
          </a:xfrm>
          <a:prstGeom prst="rect">
            <a:avLst/>
          </a:prstGeom>
        </p:spPr>
        <p:txBody>
          <a:bodyPr vert="horz" lIns="91440" tIns="45720" rIns="91440" bIns="45720" rtlCol="0">
            <a:noAutofit/>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dirty="0">
              <a:solidFill>
                <a:schemeClr val="bg2">
                  <a:lumMod val="65000"/>
                </a:schemeClr>
              </a:solidFill>
              <a:latin typeface="+mn-lt"/>
              <a:ea typeface="+mn-ea"/>
              <a:cs typeface="CiscoSans Thin"/>
            </a:endParaRPr>
          </a:p>
        </p:txBody>
      </p:sp>
      <p:grpSp>
        <p:nvGrpSpPr>
          <p:cNvPr id="15" name="Group 14">
            <a:extLst>
              <a:ext uri="{FF2B5EF4-FFF2-40B4-BE49-F238E27FC236}">
                <a16:creationId xmlns:a16="http://schemas.microsoft.com/office/drawing/2014/main" id="{CBED5B83-1E8D-644B-9D99-73AF8BF11929}"/>
              </a:ext>
            </a:extLst>
          </p:cNvPr>
          <p:cNvGrpSpPr/>
          <p:nvPr userDrawn="1"/>
        </p:nvGrpSpPr>
        <p:grpSpPr>
          <a:xfrm>
            <a:off x="528763" y="4712481"/>
            <a:ext cx="921665" cy="191516"/>
            <a:chOff x="528763" y="4734321"/>
            <a:chExt cx="816561" cy="169676"/>
          </a:xfrm>
          <a:solidFill>
            <a:schemeClr val="accent2"/>
          </a:solidFill>
        </p:grpSpPr>
        <p:grpSp>
          <p:nvGrpSpPr>
            <p:cNvPr id="16" name="Graphic 2">
              <a:extLst>
                <a:ext uri="{FF2B5EF4-FFF2-40B4-BE49-F238E27FC236}">
                  <a16:creationId xmlns:a16="http://schemas.microsoft.com/office/drawing/2014/main" id="{B4346FFB-18F0-A14C-88D9-6B596E64AD83}"/>
                </a:ext>
              </a:extLst>
            </p:cNvPr>
            <p:cNvGrpSpPr/>
            <p:nvPr userDrawn="1"/>
          </p:nvGrpSpPr>
          <p:grpSpPr>
            <a:xfrm>
              <a:off x="896434" y="4795886"/>
              <a:ext cx="448890" cy="108111"/>
              <a:chOff x="4433187" y="1865375"/>
              <a:chExt cx="2298157" cy="553493"/>
            </a:xfrm>
            <a:grpFill/>
          </p:grpSpPr>
          <p:sp>
            <p:nvSpPr>
              <p:cNvPr id="18" name="Freeform 17">
                <a:extLst>
                  <a:ext uri="{FF2B5EF4-FFF2-40B4-BE49-F238E27FC236}">
                    <a16:creationId xmlns:a16="http://schemas.microsoft.com/office/drawing/2014/main" id="{042A2B56-6FEB-F54C-A2BC-5EE3D63C0C2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19" name="Freeform 18">
                <a:extLst>
                  <a:ext uri="{FF2B5EF4-FFF2-40B4-BE49-F238E27FC236}">
                    <a16:creationId xmlns:a16="http://schemas.microsoft.com/office/drawing/2014/main" id="{CFB12BFD-05F3-FA48-9138-1112F65A4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0" name="Freeform 19">
                <a:extLst>
                  <a:ext uri="{FF2B5EF4-FFF2-40B4-BE49-F238E27FC236}">
                    <a16:creationId xmlns:a16="http://schemas.microsoft.com/office/drawing/2014/main" id="{83D9EA9D-4EFB-104F-966A-6971C09C94F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3436A28A-6312-9E42-8194-07996A6A6509}"/>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47821BB3-D7E0-304B-997D-9FFA9A362889}"/>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58C95125-B3C6-5648-A684-B284AD3181C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7" name="Freeform 6">
              <a:extLst>
                <a:ext uri="{FF2B5EF4-FFF2-40B4-BE49-F238E27FC236}">
                  <a16:creationId xmlns:a16="http://schemas.microsoft.com/office/drawing/2014/main" id="{EFF30873-2CCF-204E-8D5E-18B9F31E7799}"/>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lumMod val="65000"/>
                  </a:schemeClr>
                </a:solidFill>
                <a:latin typeface="+mn-lt"/>
                <a:ea typeface="+mn-ea"/>
                <a:cs typeface="CiscoSans Thin"/>
              </a:rPr>
              <a:t>© 2020 Cisco and/or its affiliates. All rights reserved. </a:t>
            </a:r>
          </a:p>
        </p:txBody>
      </p:sp>
    </p:spTree>
  </p:cSld>
  <p:clrMap bg1="lt1" tx1="dk1" bg2="lt2" tx2="dk2" accent1="accent1" accent2="accent2" accent3="accent3" accent4="accent4" accent5="accent5" accent6="accent6" hlink="hlink" folHlink="folHlink"/>
  <p:sldLayoutIdLst>
    <p:sldLayoutId id="2147483874" r:id="rId1"/>
    <p:sldLayoutId id="2147484020" r:id="rId2"/>
    <p:sldLayoutId id="2147484044" r:id="rId3"/>
    <p:sldLayoutId id="2147484019" r:id="rId4"/>
    <p:sldLayoutId id="2147484018" r:id="rId5"/>
    <p:sldLayoutId id="2147484050" r:id="rId6"/>
    <p:sldLayoutId id="2147484024" r:id="rId7"/>
    <p:sldLayoutId id="2147484023" r:id="rId8"/>
    <p:sldLayoutId id="2147483876" r:id="rId9"/>
    <p:sldLayoutId id="2147484013" r:id="rId10"/>
    <p:sldLayoutId id="2147484035" r:id="rId11"/>
    <p:sldLayoutId id="2147484034" r:id="rId12"/>
    <p:sldLayoutId id="2147484051" r:id="rId13"/>
    <p:sldLayoutId id="2147484052" r:id="rId14"/>
    <p:sldLayoutId id="2147483982" r:id="rId15"/>
    <p:sldLayoutId id="2147484014" r:id="rId16"/>
    <p:sldLayoutId id="2147483879" r:id="rId17"/>
    <p:sldLayoutId id="2147484025" r:id="rId18"/>
    <p:sldLayoutId id="2147484041" r:id="rId19"/>
    <p:sldLayoutId id="2147484036" r:id="rId20"/>
    <p:sldLayoutId id="2147483976" r:id="rId21"/>
    <p:sldLayoutId id="2147483885" r:id="rId22"/>
    <p:sldLayoutId id="2147484011" r:id="rId23"/>
    <p:sldLayoutId id="2147484021" r:id="rId24"/>
    <p:sldLayoutId id="2147483979" r:id="rId25"/>
    <p:sldLayoutId id="2147483980" r:id="rId26"/>
    <p:sldLayoutId id="2147483985" r:id="rId27"/>
    <p:sldLayoutId id="2147483986" r:id="rId28"/>
    <p:sldLayoutId id="2147483969" r:id="rId29"/>
    <p:sldLayoutId id="2147483968" r:id="rId30"/>
    <p:sldLayoutId id="2147483967" r:id="rId31"/>
    <p:sldLayoutId id="2147483987" r:id="rId32"/>
    <p:sldLayoutId id="2147483983" r:id="rId33"/>
    <p:sldLayoutId id="2147483971" r:id="rId34"/>
    <p:sldLayoutId id="2147483972" r:id="rId35"/>
    <p:sldLayoutId id="2147483897" r:id="rId36"/>
    <p:sldLayoutId id="2147484015" r:id="rId37"/>
    <p:sldLayoutId id="2147484016" r:id="rId38"/>
    <p:sldLayoutId id="2147484053" r:id="rId39"/>
    <p:sldLayoutId id="2147484054" r:id="rId40"/>
    <p:sldLayoutId id="2147484055" r:id="rId41"/>
    <p:sldLayoutId id="2147484056" r:id="rId42"/>
    <p:sldLayoutId id="2147484057" r:id="rId43"/>
    <p:sldLayoutId id="2147484058" r:id="rId44"/>
    <p:sldLayoutId id="2147484059" r:id="rId45"/>
    <p:sldLayoutId id="2147484060" r:id="rId46"/>
    <p:sldLayoutId id="2147484061" r:id="rId47"/>
    <p:sldLayoutId id="2147484062" r:id="rId48"/>
    <p:sldLayoutId id="2147484063" r:id="rId49"/>
    <p:sldLayoutId id="2147484064" r:id="rId50"/>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dirty="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dirty="0" smtClean="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dirty="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cisco.com/c/en/us/products/security/security-reports.htm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hyperlink" Target="https://www.cisco.com/c/en/us/products/security/simplify-to-secure-report-2020.html" TargetMode="External"/><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hyperlink" Target="https://cisco.com/go/tamethebeast" TargetMode="External"/><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hyperlink" Target="https://cisco.com/go/tamethebeast"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hyperlink" Target="https://www.cisco.com/c/en/us/products/security/simplify-to-secure-report-2020.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svg"/></Relationships>
</file>

<file path=ppt/slides/_rels/slide13.xml.rels><?xml version="1.0" encoding="UTF-8" standalone="yes"?>
<Relationships xmlns="http://schemas.openxmlformats.org/package/2006/relationships"><Relationship Id="rId8" Type="http://schemas.openxmlformats.org/officeDocument/2006/relationships/hyperlink" Target="https://cisco.com/go/tamethebeast" TargetMode="External"/><Relationship Id="rId3" Type="http://schemas.openxmlformats.org/officeDocument/2006/relationships/image" Target="../media/image44.png"/><Relationship Id="rId7" Type="http://schemas.microsoft.com/office/2007/relationships/hdphoto" Target="../media/hdphoto6.wdp"/><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46.png"/><Relationship Id="rId5" Type="http://schemas.microsoft.com/office/2007/relationships/hdphoto" Target="../media/hdphoto5.wdp"/><Relationship Id="rId4" Type="http://schemas.openxmlformats.org/officeDocument/2006/relationships/image" Target="../media/image45.png"/><Relationship Id="rId9" Type="http://schemas.openxmlformats.org/officeDocument/2006/relationships/hyperlink" Target="https://www.cisco.com/c/en/us/products/security/simplify-to-secure-report-2020.html"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svg"/><Relationship Id="rId18" Type="http://schemas.openxmlformats.org/officeDocument/2006/relationships/hyperlink" Target="https://www.cisco.com/c/en/us/products/security/simplify-to-secure-report-2020.html" TargetMode="External"/><Relationship Id="rId3" Type="http://schemas.openxmlformats.org/officeDocument/2006/relationships/tags" Target="../tags/tag3.xml"/><Relationship Id="rId7" Type="http://schemas.openxmlformats.org/officeDocument/2006/relationships/image" Target="../media/image47.emf"/><Relationship Id="rId12" Type="http://schemas.openxmlformats.org/officeDocument/2006/relationships/image" Target="../media/image51.png"/><Relationship Id="rId17" Type="http://schemas.openxmlformats.org/officeDocument/2006/relationships/hyperlink" Target="https://cisco.com/go/tamethebeast" TargetMode="External"/><Relationship Id="rId2" Type="http://schemas.openxmlformats.org/officeDocument/2006/relationships/tags" Target="../tags/tag2.xml"/><Relationship Id="rId16" Type="http://schemas.openxmlformats.org/officeDocument/2006/relationships/image" Target="../media/image55.sv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50.png"/><Relationship Id="rId5" Type="http://schemas.openxmlformats.org/officeDocument/2006/relationships/notesSlide" Target="../notesSlides/notesSlide11.xml"/><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slideLayout" Target="../slideLayouts/slideLayout17.xml"/><Relationship Id="rId9" Type="http://schemas.microsoft.com/office/2007/relationships/hdphoto" Target="../media/hdphoto7.wdp"/><Relationship Id="rId14" Type="http://schemas.openxmlformats.org/officeDocument/2006/relationships/image" Target="../media/image53.png"/></Relationships>
</file>

<file path=ppt/slides/_rels/slide1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svg"/><Relationship Id="rId18" Type="http://schemas.openxmlformats.org/officeDocument/2006/relationships/image" Target="../media/image40.png"/><Relationship Id="rId3" Type="http://schemas.openxmlformats.org/officeDocument/2006/relationships/image" Target="../media/image56.png"/><Relationship Id="rId21" Type="http://schemas.openxmlformats.org/officeDocument/2006/relationships/image" Target="../media/image73.sv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svg"/><Relationship Id="rId2" Type="http://schemas.openxmlformats.org/officeDocument/2006/relationships/notesSlide" Target="../notesSlides/notesSlide12.xml"/><Relationship Id="rId16" Type="http://schemas.openxmlformats.org/officeDocument/2006/relationships/image" Target="../media/image69.png"/><Relationship Id="rId20" Type="http://schemas.openxmlformats.org/officeDocument/2006/relationships/image" Target="../media/image72.png"/><Relationship Id="rId1" Type="http://schemas.openxmlformats.org/officeDocument/2006/relationships/slideLayout" Target="../slideLayouts/slideLayout11.xml"/><Relationship Id="rId6" Type="http://schemas.openxmlformats.org/officeDocument/2006/relationships/image" Target="../media/image59.png"/><Relationship Id="rId11" Type="http://schemas.openxmlformats.org/officeDocument/2006/relationships/image" Target="../media/image64.svg"/><Relationship Id="rId24" Type="http://schemas.openxmlformats.org/officeDocument/2006/relationships/image" Target="../media/image76.png"/><Relationship Id="rId5" Type="http://schemas.openxmlformats.org/officeDocument/2006/relationships/image" Target="../media/image58.png"/><Relationship Id="rId15" Type="http://schemas.openxmlformats.org/officeDocument/2006/relationships/image" Target="../media/image68.svg"/><Relationship Id="rId23" Type="http://schemas.openxmlformats.org/officeDocument/2006/relationships/image" Target="../media/image75.png"/><Relationship Id="rId10" Type="http://schemas.openxmlformats.org/officeDocument/2006/relationships/image" Target="../media/image63.png"/><Relationship Id="rId19" Type="http://schemas.openxmlformats.org/officeDocument/2006/relationships/image" Target="../media/image71.svg"/><Relationship Id="rId4" Type="http://schemas.openxmlformats.org/officeDocument/2006/relationships/image" Target="../media/image57.svg"/><Relationship Id="rId9" Type="http://schemas.openxmlformats.org/officeDocument/2006/relationships/image" Target="../media/image62.svg"/><Relationship Id="rId14" Type="http://schemas.openxmlformats.org/officeDocument/2006/relationships/image" Target="../media/image67.png"/><Relationship Id="rId22"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www.cisco.com/c/en/us/products/security/simplify-to-secure-report-2020.html" TargetMode="External"/><Relationship Id="rId1" Type="http://schemas.openxmlformats.org/officeDocument/2006/relationships/slideLayout" Target="../slideLayouts/slideLayout32.xml"/><Relationship Id="rId4" Type="http://schemas.openxmlformats.org/officeDocument/2006/relationships/hyperlink" Target="https://cisco.com/go/tamethebeast"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www.cisco.com/c/en/us/products/security/security-reports.html" TargetMode="Externa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cisco.com/go/tamethebeast" TargetMode="External"/><Relationship Id="rId2" Type="http://schemas.openxmlformats.org/officeDocument/2006/relationships/image" Target="../media/image8.png"/><Relationship Id="rId1" Type="http://schemas.openxmlformats.org/officeDocument/2006/relationships/slideLayout" Target="../slideLayouts/slideLayout29.xml"/><Relationship Id="rId4" Type="http://schemas.openxmlformats.org/officeDocument/2006/relationships/hyperlink" Target="https://www.cisco.com/c/en/us/products/security/simplify-to-secure-report-2020.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1.xml"/><Relationship Id="rId5" Type="http://schemas.openxmlformats.org/officeDocument/2006/relationships/hyperlink" Target="https://www.cisco.com/c/en/us/products/security/simplify-to-secure-report-2020.html" TargetMode="External"/><Relationship Id="rId4" Type="http://schemas.openxmlformats.org/officeDocument/2006/relationships/hyperlink" Target="https://cisco.com/go/tamethebeast"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13" Type="http://schemas.microsoft.com/office/2007/relationships/hdphoto" Target="../media/hdphoto2.wdp"/><Relationship Id="rId18" Type="http://schemas.openxmlformats.org/officeDocument/2006/relationships/image" Target="../media/image31.png"/><Relationship Id="rId3" Type="http://schemas.openxmlformats.org/officeDocument/2006/relationships/image" Target="../media/image18.png"/><Relationship Id="rId21" Type="http://schemas.openxmlformats.org/officeDocument/2006/relationships/hyperlink" Target="https://cisco.com/go/tamethebeast" TargetMode="External"/><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0.png"/><Relationship Id="rId2" Type="http://schemas.openxmlformats.org/officeDocument/2006/relationships/notesSlide" Target="../notesSlides/notesSlide3.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slideLayout" Target="../slideLayouts/slideLayout22.xml"/><Relationship Id="rId6" Type="http://schemas.microsoft.com/office/2007/relationships/hdphoto" Target="../media/hdphoto1.wdp"/><Relationship Id="rId11" Type="http://schemas.openxmlformats.org/officeDocument/2006/relationships/image" Target="../media/image25.png"/><Relationship Id="rId5" Type="http://schemas.openxmlformats.org/officeDocument/2006/relationships/image" Target="../media/image20.png"/><Relationship Id="rId15" Type="http://schemas.openxmlformats.org/officeDocument/2006/relationships/image" Target="../media/image28.png"/><Relationship Id="rId10" Type="http://schemas.openxmlformats.org/officeDocument/2006/relationships/image" Target="../media/image24.png"/><Relationship Id="rId19" Type="http://schemas.openxmlformats.org/officeDocument/2006/relationships/image" Target="../media/image32.png"/><Relationship Id="rId4" Type="http://schemas.openxmlformats.org/officeDocument/2006/relationships/image" Target="../media/image19.png"/><Relationship Id="rId9" Type="http://schemas.openxmlformats.org/officeDocument/2006/relationships/image" Target="../media/image23.png"/><Relationship Id="rId14" Type="http://schemas.openxmlformats.org/officeDocument/2006/relationships/image" Target="../media/image27.png"/><Relationship Id="rId22" Type="http://schemas.openxmlformats.org/officeDocument/2006/relationships/hyperlink" Target="https://www.cisco.com/c/en/us/products/security/simplify-to-secure-report-2020.htm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microsoft.com/office/2007/relationships/hdphoto" Target="../media/hdphoto4.wdp"/><Relationship Id="rId5" Type="http://schemas.openxmlformats.org/officeDocument/2006/relationships/image" Target="../media/image35.png"/><Relationship Id="rId4" Type="http://schemas.microsoft.com/office/2007/relationships/hdphoto" Target="../media/hdphoto3.wdp"/></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hyperlink" Target="https://www.cisco.com/c/en/us/products/security/simplify-to-secure-report-2020.html" TargetMode="External"/><Relationship Id="rId2" Type="http://schemas.openxmlformats.org/officeDocument/2006/relationships/hyperlink" Target="https://cisco.com/go/tamethebeast" TargetMode="Externa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hyperlink" Target="https://www.cisco.com/c/en/us/products/security/simplify-to-secure-report-2020.html" TargetMode="External"/><Relationship Id="rId2" Type="http://schemas.openxmlformats.org/officeDocument/2006/relationships/hyperlink" Target="https://cisco.com/go/tamethebeast" TargetMode="Externa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22.xml"/><Relationship Id="rId5" Type="http://schemas.openxmlformats.org/officeDocument/2006/relationships/hyperlink" Target="https://www.cisco.com/c/en/us/products/security/simplify-to-secure-report-2020.html" TargetMode="External"/><Relationship Id="rId4" Type="http://schemas.openxmlformats.org/officeDocument/2006/relationships/hyperlink" Target="https://cisco.com/go/tamethebeas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EB3125A-7569-6349-B609-7947523C4CD0}"/>
              </a:ext>
            </a:extLst>
          </p:cNvPr>
          <p:cNvSpPr>
            <a:spLocks noGrp="1"/>
          </p:cNvSpPr>
          <p:nvPr>
            <p:ph type="body" sz="quarter" idx="13"/>
          </p:nvPr>
        </p:nvSpPr>
        <p:spPr>
          <a:xfrm>
            <a:off x="425764" y="1321144"/>
            <a:ext cx="4339965" cy="2670551"/>
          </a:xfrm>
        </p:spPr>
        <p:txBody>
          <a:bodyPr anchor="ctr" anchorCtr="0"/>
          <a:lstStyle/>
          <a:p>
            <a:r>
              <a:rPr lang="en-US" sz="1800" dirty="0">
                <a:solidFill>
                  <a:schemeClr val="bg1"/>
                </a:solidFill>
              </a:rPr>
              <a:t>From our </a:t>
            </a:r>
            <a:r>
              <a:rPr lang="en-US" sz="1800" dirty="0">
                <a:hlinkClick r:id="rId3">
                  <a:extLst>
                    <a:ext uri="{A12FA001-AC4F-418D-AE19-62706E023703}">
                      <ahyp:hlinkClr xmlns:ahyp="http://schemas.microsoft.com/office/drawing/2018/hyperlinkcolor" val="tx"/>
                    </a:ext>
                  </a:extLst>
                </a:hlinkClick>
              </a:rPr>
              <a:t>Cybersecurity Report Series</a:t>
            </a:r>
            <a:r>
              <a:rPr lang="en-US" sz="1800" dirty="0"/>
              <a:t>, </a:t>
            </a:r>
            <a:r>
              <a:rPr lang="en-US" sz="1800" dirty="0">
                <a:solidFill>
                  <a:schemeClr val="bg1"/>
                </a:solidFill>
              </a:rPr>
              <a:t>the </a:t>
            </a:r>
            <a:r>
              <a:rPr lang="en-US" sz="1800" b="1" dirty="0">
                <a:solidFill>
                  <a:schemeClr val="bg1"/>
                </a:solidFill>
                <a:latin typeface="CiscoSansTT" panose="020B0503020201020303" pitchFamily="34" charset="0"/>
                <a:cs typeface="CiscoSansTT" panose="020B0503020201020303" pitchFamily="34" charset="0"/>
              </a:rPr>
              <a:t>Simplify to Secure </a:t>
            </a:r>
            <a:r>
              <a:rPr lang="en-US" sz="1800" dirty="0">
                <a:solidFill>
                  <a:schemeClr val="bg1"/>
                </a:solidFill>
              </a:rPr>
              <a:t>report:</a:t>
            </a:r>
          </a:p>
          <a:p>
            <a:pPr marL="177800" indent="-177800">
              <a:buFont typeface="Arial" panose="020B0604020202020204" pitchFamily="34" charset="0"/>
              <a:buChar char="•"/>
            </a:pPr>
            <a:r>
              <a:rPr lang="en-US" sz="1800" dirty="0">
                <a:sym typeface="Calibri"/>
              </a:rPr>
              <a:t>Explores</a:t>
            </a:r>
            <a:r>
              <a:rPr lang="en-US" sz="1800" dirty="0">
                <a:solidFill>
                  <a:schemeClr val="bg1"/>
                </a:solidFill>
                <a:sym typeface="Calibri"/>
              </a:rPr>
              <a:t> the growing complexity </a:t>
            </a:r>
            <a:br>
              <a:rPr lang="en-US" sz="1800" dirty="0">
                <a:solidFill>
                  <a:schemeClr val="bg1"/>
                </a:solidFill>
                <a:sym typeface="Calibri"/>
              </a:rPr>
            </a:br>
            <a:r>
              <a:rPr lang="en-US" sz="1800" dirty="0">
                <a:solidFill>
                  <a:schemeClr val="bg1"/>
                </a:solidFill>
                <a:sym typeface="Calibri"/>
              </a:rPr>
              <a:t>of security ecosystems</a:t>
            </a:r>
          </a:p>
          <a:p>
            <a:pPr marL="177800" indent="-177800">
              <a:buFont typeface="Arial" panose="020B0604020202020204" pitchFamily="34" charset="0"/>
              <a:buChar char="•"/>
            </a:pPr>
            <a:r>
              <a:rPr lang="en-US" sz="1800" dirty="0"/>
              <a:t>Provides insights </a:t>
            </a:r>
            <a:r>
              <a:rPr lang="en-US" sz="1800" dirty="0">
                <a:solidFill>
                  <a:schemeClr val="bg1"/>
                </a:solidFill>
              </a:rPr>
              <a:t>into how an integrated platform approach can improve many aspects of security</a:t>
            </a:r>
          </a:p>
        </p:txBody>
      </p:sp>
      <p:pic>
        <p:nvPicPr>
          <p:cNvPr id="16" name="Picture 15">
            <a:extLst>
              <a:ext uri="{FF2B5EF4-FFF2-40B4-BE49-F238E27FC236}">
                <a16:creationId xmlns:a16="http://schemas.microsoft.com/office/drawing/2014/main" id="{799BF110-801A-5348-8EE2-366C8C1574F3}"/>
              </a:ext>
            </a:extLst>
          </p:cNvPr>
          <p:cNvPicPr>
            <a:picLocks noChangeAspect="1"/>
          </p:cNvPicPr>
          <p:nvPr/>
        </p:nvPicPr>
        <p:blipFill>
          <a:blip r:embed="rId4"/>
          <a:stretch>
            <a:fillRect/>
          </a:stretch>
        </p:blipFill>
        <p:spPr>
          <a:xfrm>
            <a:off x="4369423" y="193287"/>
            <a:ext cx="6551858" cy="5233640"/>
          </a:xfrm>
          <a:prstGeom prst="rect">
            <a:avLst/>
          </a:prstGeom>
        </p:spPr>
      </p:pic>
      <p:pic>
        <p:nvPicPr>
          <p:cNvPr id="18" name="Picture 17">
            <a:extLst>
              <a:ext uri="{FF2B5EF4-FFF2-40B4-BE49-F238E27FC236}">
                <a16:creationId xmlns:a16="http://schemas.microsoft.com/office/drawing/2014/main" id="{969160F7-9BAB-5442-BBCE-5E8C35C0D049}"/>
              </a:ext>
            </a:extLst>
          </p:cNvPr>
          <p:cNvPicPr>
            <a:picLocks noChangeAspect="1"/>
          </p:cNvPicPr>
          <p:nvPr/>
        </p:nvPicPr>
        <p:blipFill>
          <a:blip r:embed="rId5"/>
          <a:stretch>
            <a:fillRect/>
          </a:stretch>
        </p:blipFill>
        <p:spPr>
          <a:xfrm>
            <a:off x="4459965" y="4166374"/>
            <a:ext cx="520700" cy="914400"/>
          </a:xfrm>
          <a:prstGeom prst="rect">
            <a:avLst/>
          </a:prstGeom>
        </p:spPr>
      </p:pic>
      <p:pic>
        <p:nvPicPr>
          <p:cNvPr id="20" name="Picture 19">
            <a:extLst>
              <a:ext uri="{FF2B5EF4-FFF2-40B4-BE49-F238E27FC236}">
                <a16:creationId xmlns:a16="http://schemas.microsoft.com/office/drawing/2014/main" id="{B7AEDFE4-EBF5-8D41-96BF-A8068B0747A9}"/>
              </a:ext>
            </a:extLst>
          </p:cNvPr>
          <p:cNvPicPr>
            <a:picLocks noChangeAspect="1"/>
          </p:cNvPicPr>
          <p:nvPr/>
        </p:nvPicPr>
        <p:blipFill>
          <a:blip r:embed="rId6"/>
          <a:stretch>
            <a:fillRect/>
          </a:stretch>
        </p:blipFill>
        <p:spPr>
          <a:xfrm>
            <a:off x="3520165" y="4498778"/>
            <a:ext cx="939800" cy="215900"/>
          </a:xfrm>
          <a:prstGeom prst="rect">
            <a:avLst/>
          </a:prstGeom>
        </p:spPr>
      </p:pic>
    </p:spTree>
    <p:extLst>
      <p:ext uri="{BB962C8B-B14F-4D97-AF65-F5344CB8AC3E}">
        <p14:creationId xmlns:p14="http://schemas.microsoft.com/office/powerpoint/2010/main" val="126610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E437B-5D70-4148-8F4A-9D0C6AE41B49}"/>
              </a:ext>
            </a:extLst>
          </p:cNvPr>
          <p:cNvSpPr>
            <a:spLocks noGrp="1"/>
          </p:cNvSpPr>
          <p:nvPr>
            <p:ph type="title"/>
          </p:nvPr>
        </p:nvSpPr>
        <p:spPr>
          <a:xfrm>
            <a:off x="437766" y="527163"/>
            <a:ext cx="4372127" cy="731837"/>
          </a:xfrm>
        </p:spPr>
        <p:txBody>
          <a:bodyPr/>
          <a:lstStyle/>
          <a:p>
            <a:r>
              <a:rPr lang="en-US" dirty="0"/>
              <a:t>Using fewer vendors shows during an attack:</a:t>
            </a:r>
          </a:p>
        </p:txBody>
      </p:sp>
      <p:pic>
        <p:nvPicPr>
          <p:cNvPr id="15" name="Picture 14">
            <a:extLst>
              <a:ext uri="{FF2B5EF4-FFF2-40B4-BE49-F238E27FC236}">
                <a16:creationId xmlns:a16="http://schemas.microsoft.com/office/drawing/2014/main" id="{679B8423-40BE-440C-B1D0-B77CE79DC8BF}"/>
              </a:ext>
            </a:extLst>
          </p:cNvPr>
          <p:cNvPicPr>
            <a:picLocks noChangeAspect="1"/>
          </p:cNvPicPr>
          <p:nvPr/>
        </p:nvPicPr>
        <p:blipFill rotWithShape="1">
          <a:blip r:embed="rId3"/>
          <a:srcRect l="8249" t="22654" r="8658" b="10135"/>
          <a:stretch/>
        </p:blipFill>
        <p:spPr>
          <a:xfrm>
            <a:off x="523655" y="1999481"/>
            <a:ext cx="3820118" cy="1762642"/>
          </a:xfrm>
          <a:prstGeom prst="rect">
            <a:avLst/>
          </a:prstGeom>
        </p:spPr>
      </p:pic>
      <p:pic>
        <p:nvPicPr>
          <p:cNvPr id="23" name="Picture 22">
            <a:extLst>
              <a:ext uri="{FF2B5EF4-FFF2-40B4-BE49-F238E27FC236}">
                <a16:creationId xmlns:a16="http://schemas.microsoft.com/office/drawing/2014/main" id="{7D419D6B-4651-4071-A9C6-196418A8182C}"/>
              </a:ext>
            </a:extLst>
          </p:cNvPr>
          <p:cNvPicPr>
            <a:picLocks noChangeAspect="1"/>
          </p:cNvPicPr>
          <p:nvPr/>
        </p:nvPicPr>
        <p:blipFill rotWithShape="1">
          <a:blip r:embed="rId4"/>
          <a:srcRect l="2760" t="15712" r="8401" b="12179"/>
          <a:stretch/>
        </p:blipFill>
        <p:spPr>
          <a:xfrm>
            <a:off x="4480669" y="2922394"/>
            <a:ext cx="3954535" cy="1781201"/>
          </a:xfrm>
          <a:prstGeom prst="rect">
            <a:avLst/>
          </a:prstGeom>
        </p:spPr>
      </p:pic>
      <p:grpSp>
        <p:nvGrpSpPr>
          <p:cNvPr id="19" name="Group 18">
            <a:extLst>
              <a:ext uri="{FF2B5EF4-FFF2-40B4-BE49-F238E27FC236}">
                <a16:creationId xmlns:a16="http://schemas.microsoft.com/office/drawing/2014/main" id="{17579C8D-7029-924C-B892-2767A9272E04}"/>
              </a:ext>
            </a:extLst>
          </p:cNvPr>
          <p:cNvGrpSpPr/>
          <p:nvPr/>
        </p:nvGrpSpPr>
        <p:grpSpPr>
          <a:xfrm rot="1800000">
            <a:off x="6309641" y="3720191"/>
            <a:ext cx="2000635" cy="234737"/>
            <a:chOff x="1533138" y="2205282"/>
            <a:chExt cx="1888531" cy="221584"/>
          </a:xfrm>
          <a:solidFill>
            <a:schemeClr val="accent1"/>
          </a:solidFill>
        </p:grpSpPr>
        <p:sp>
          <p:nvSpPr>
            <p:cNvPr id="21" name="Rounded Rectangle 20">
              <a:extLst>
                <a:ext uri="{FF2B5EF4-FFF2-40B4-BE49-F238E27FC236}">
                  <a16:creationId xmlns:a16="http://schemas.microsoft.com/office/drawing/2014/main" id="{950B0A29-4200-3F45-BF2C-93F0D24BC934}"/>
                </a:ext>
              </a:extLst>
            </p:cNvPr>
            <p:cNvSpPr/>
            <p:nvPr/>
          </p:nvSpPr>
          <p:spPr>
            <a:xfrm>
              <a:off x="1533138" y="2279497"/>
              <a:ext cx="1860702" cy="7315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30">
              <a:extLst>
                <a:ext uri="{FF2B5EF4-FFF2-40B4-BE49-F238E27FC236}">
                  <a16:creationId xmlns:a16="http://schemas.microsoft.com/office/drawing/2014/main" id="{67070AC1-E809-014D-95F8-C9181EB5E152}"/>
                </a:ext>
              </a:extLst>
            </p:cNvPr>
            <p:cNvSpPr>
              <a:spLocks noChangeAspect="1"/>
            </p:cNvSpPr>
            <p:nvPr/>
          </p:nvSpPr>
          <p:spPr>
            <a:xfrm rot="13500000">
              <a:off x="3200086" y="2205282"/>
              <a:ext cx="221584" cy="221583"/>
            </a:xfrm>
            <a:custGeom>
              <a:avLst/>
              <a:gdLst>
                <a:gd name="connsiteX0" fmla="*/ 489016 w 3025776"/>
                <a:gd name="connsiteY0" fmla="*/ 0 h 3025775"/>
                <a:gd name="connsiteX1" fmla="*/ 489016 w 3025776"/>
                <a:gd name="connsiteY1" fmla="*/ 1 h 3025775"/>
                <a:gd name="connsiteX2" fmla="*/ 978031 w 3025776"/>
                <a:gd name="connsiteY2" fmla="*/ 489016 h 3025775"/>
                <a:gd name="connsiteX3" fmla="*/ 978030 w 3025776"/>
                <a:gd name="connsiteY3" fmla="*/ 2047747 h 3025775"/>
                <a:gd name="connsiteX4" fmla="*/ 2536762 w 3025776"/>
                <a:gd name="connsiteY4" fmla="*/ 2047747 h 3025775"/>
                <a:gd name="connsiteX5" fmla="*/ 3025776 w 3025776"/>
                <a:gd name="connsiteY5" fmla="*/ 2536761 h 3025775"/>
                <a:gd name="connsiteX6" fmla="*/ 2536762 w 3025776"/>
                <a:gd name="connsiteY6" fmla="*/ 3025775 h 3025775"/>
                <a:gd name="connsiteX7" fmla="*/ 489014 w 3025776"/>
                <a:gd name="connsiteY7" fmla="*/ 3025775 h 3025775"/>
                <a:gd name="connsiteX8" fmla="*/ 0 w 3025776"/>
                <a:gd name="connsiteY8" fmla="*/ 2536761 h 3025775"/>
                <a:gd name="connsiteX9" fmla="*/ 1 w 3025776"/>
                <a:gd name="connsiteY9" fmla="*/ 2536756 h 3025775"/>
                <a:gd name="connsiteX10" fmla="*/ 1 w 3025776"/>
                <a:gd name="connsiteY10" fmla="*/ 489015 h 3025775"/>
                <a:gd name="connsiteX11" fmla="*/ 489016 w 3025776"/>
                <a:gd name="connsiteY11" fmla="*/ 0 h 302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5776" h="3025775">
                  <a:moveTo>
                    <a:pt x="489016" y="0"/>
                  </a:moveTo>
                  <a:lnTo>
                    <a:pt x="489016" y="1"/>
                  </a:lnTo>
                  <a:cubicBezTo>
                    <a:pt x="759092" y="1"/>
                    <a:pt x="978031" y="218940"/>
                    <a:pt x="978031" y="489016"/>
                  </a:cubicBezTo>
                  <a:lnTo>
                    <a:pt x="978030" y="2047747"/>
                  </a:lnTo>
                  <a:lnTo>
                    <a:pt x="2536762" y="2047747"/>
                  </a:lnTo>
                  <a:cubicBezTo>
                    <a:pt x="2806837" y="2047747"/>
                    <a:pt x="3025776" y="2266686"/>
                    <a:pt x="3025776" y="2536761"/>
                  </a:cubicBezTo>
                  <a:cubicBezTo>
                    <a:pt x="3025776" y="2806836"/>
                    <a:pt x="2806837" y="3025775"/>
                    <a:pt x="2536762" y="3025775"/>
                  </a:cubicBezTo>
                  <a:lnTo>
                    <a:pt x="489014" y="3025775"/>
                  </a:lnTo>
                  <a:cubicBezTo>
                    <a:pt x="218939" y="3025775"/>
                    <a:pt x="0" y="2806836"/>
                    <a:pt x="0" y="2536761"/>
                  </a:cubicBezTo>
                  <a:lnTo>
                    <a:pt x="1" y="2536756"/>
                  </a:lnTo>
                  <a:lnTo>
                    <a:pt x="1" y="489015"/>
                  </a:lnTo>
                  <a:cubicBezTo>
                    <a:pt x="1" y="218939"/>
                    <a:pt x="218940" y="0"/>
                    <a:pt x="48901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7" name="Picture 26">
            <a:extLst>
              <a:ext uri="{FF2B5EF4-FFF2-40B4-BE49-F238E27FC236}">
                <a16:creationId xmlns:a16="http://schemas.microsoft.com/office/drawing/2014/main" id="{7D0D348C-872E-964F-9DE0-DFFF5519925B}"/>
              </a:ext>
            </a:extLst>
          </p:cNvPr>
          <p:cNvPicPr>
            <a:picLocks noChangeAspect="1"/>
          </p:cNvPicPr>
          <p:nvPr/>
        </p:nvPicPr>
        <p:blipFill rotWithShape="1">
          <a:blip r:embed="rId5"/>
          <a:srcRect l="5600" t="13465" r="5575" b="19232"/>
          <a:stretch/>
        </p:blipFill>
        <p:spPr>
          <a:xfrm>
            <a:off x="4516402" y="711727"/>
            <a:ext cx="3931350" cy="1833435"/>
          </a:xfrm>
          <a:prstGeom prst="rect">
            <a:avLst/>
          </a:prstGeom>
        </p:spPr>
      </p:pic>
      <p:grpSp>
        <p:nvGrpSpPr>
          <p:cNvPr id="32" name="Group 31">
            <a:extLst>
              <a:ext uri="{FF2B5EF4-FFF2-40B4-BE49-F238E27FC236}">
                <a16:creationId xmlns:a16="http://schemas.microsoft.com/office/drawing/2014/main" id="{5A591977-B96C-F348-B701-E1109B6B6101}"/>
              </a:ext>
            </a:extLst>
          </p:cNvPr>
          <p:cNvGrpSpPr/>
          <p:nvPr/>
        </p:nvGrpSpPr>
        <p:grpSpPr>
          <a:xfrm rot="1800000">
            <a:off x="6309641" y="1336487"/>
            <a:ext cx="2000635" cy="234737"/>
            <a:chOff x="1533138" y="2205282"/>
            <a:chExt cx="1888531" cy="221584"/>
          </a:xfrm>
          <a:solidFill>
            <a:schemeClr val="accent1"/>
          </a:solidFill>
        </p:grpSpPr>
        <p:sp>
          <p:nvSpPr>
            <p:cNvPr id="33" name="Rounded Rectangle 32">
              <a:extLst>
                <a:ext uri="{FF2B5EF4-FFF2-40B4-BE49-F238E27FC236}">
                  <a16:creationId xmlns:a16="http://schemas.microsoft.com/office/drawing/2014/main" id="{41C871DA-AAD6-C94F-8C5C-AB0989E50A63}"/>
                </a:ext>
              </a:extLst>
            </p:cNvPr>
            <p:cNvSpPr/>
            <p:nvPr/>
          </p:nvSpPr>
          <p:spPr>
            <a:xfrm>
              <a:off x="1533138" y="2279497"/>
              <a:ext cx="1860702" cy="7315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33">
              <a:extLst>
                <a:ext uri="{FF2B5EF4-FFF2-40B4-BE49-F238E27FC236}">
                  <a16:creationId xmlns:a16="http://schemas.microsoft.com/office/drawing/2014/main" id="{207A4C6D-AD99-A04D-8E7E-A17BDF128C23}"/>
                </a:ext>
              </a:extLst>
            </p:cNvPr>
            <p:cNvSpPr>
              <a:spLocks noChangeAspect="1"/>
            </p:cNvSpPr>
            <p:nvPr/>
          </p:nvSpPr>
          <p:spPr>
            <a:xfrm rot="13500000">
              <a:off x="3200086" y="2205282"/>
              <a:ext cx="221584" cy="221583"/>
            </a:xfrm>
            <a:custGeom>
              <a:avLst/>
              <a:gdLst>
                <a:gd name="connsiteX0" fmla="*/ 489016 w 3025776"/>
                <a:gd name="connsiteY0" fmla="*/ 0 h 3025775"/>
                <a:gd name="connsiteX1" fmla="*/ 489016 w 3025776"/>
                <a:gd name="connsiteY1" fmla="*/ 1 h 3025775"/>
                <a:gd name="connsiteX2" fmla="*/ 978031 w 3025776"/>
                <a:gd name="connsiteY2" fmla="*/ 489016 h 3025775"/>
                <a:gd name="connsiteX3" fmla="*/ 978030 w 3025776"/>
                <a:gd name="connsiteY3" fmla="*/ 2047747 h 3025775"/>
                <a:gd name="connsiteX4" fmla="*/ 2536762 w 3025776"/>
                <a:gd name="connsiteY4" fmla="*/ 2047747 h 3025775"/>
                <a:gd name="connsiteX5" fmla="*/ 3025776 w 3025776"/>
                <a:gd name="connsiteY5" fmla="*/ 2536761 h 3025775"/>
                <a:gd name="connsiteX6" fmla="*/ 2536762 w 3025776"/>
                <a:gd name="connsiteY6" fmla="*/ 3025775 h 3025775"/>
                <a:gd name="connsiteX7" fmla="*/ 489014 w 3025776"/>
                <a:gd name="connsiteY7" fmla="*/ 3025775 h 3025775"/>
                <a:gd name="connsiteX8" fmla="*/ 0 w 3025776"/>
                <a:gd name="connsiteY8" fmla="*/ 2536761 h 3025775"/>
                <a:gd name="connsiteX9" fmla="*/ 1 w 3025776"/>
                <a:gd name="connsiteY9" fmla="*/ 2536756 h 3025775"/>
                <a:gd name="connsiteX10" fmla="*/ 1 w 3025776"/>
                <a:gd name="connsiteY10" fmla="*/ 489015 h 3025775"/>
                <a:gd name="connsiteX11" fmla="*/ 489016 w 3025776"/>
                <a:gd name="connsiteY11" fmla="*/ 0 h 302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5776" h="3025775">
                  <a:moveTo>
                    <a:pt x="489016" y="0"/>
                  </a:moveTo>
                  <a:lnTo>
                    <a:pt x="489016" y="1"/>
                  </a:lnTo>
                  <a:cubicBezTo>
                    <a:pt x="759092" y="1"/>
                    <a:pt x="978031" y="218940"/>
                    <a:pt x="978031" y="489016"/>
                  </a:cubicBezTo>
                  <a:lnTo>
                    <a:pt x="978030" y="2047747"/>
                  </a:lnTo>
                  <a:lnTo>
                    <a:pt x="2536762" y="2047747"/>
                  </a:lnTo>
                  <a:cubicBezTo>
                    <a:pt x="2806837" y="2047747"/>
                    <a:pt x="3025776" y="2266686"/>
                    <a:pt x="3025776" y="2536761"/>
                  </a:cubicBezTo>
                  <a:cubicBezTo>
                    <a:pt x="3025776" y="2806836"/>
                    <a:pt x="2806837" y="3025775"/>
                    <a:pt x="2536762" y="3025775"/>
                  </a:cubicBezTo>
                  <a:lnTo>
                    <a:pt x="489014" y="3025775"/>
                  </a:lnTo>
                  <a:cubicBezTo>
                    <a:pt x="218939" y="3025775"/>
                    <a:pt x="0" y="2806836"/>
                    <a:pt x="0" y="2536761"/>
                  </a:cubicBezTo>
                  <a:lnTo>
                    <a:pt x="1" y="2536756"/>
                  </a:lnTo>
                  <a:lnTo>
                    <a:pt x="1" y="489015"/>
                  </a:lnTo>
                  <a:cubicBezTo>
                    <a:pt x="1" y="218939"/>
                    <a:pt x="218940" y="0"/>
                    <a:pt x="48901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2">
            <a:extLst>
              <a:ext uri="{FF2B5EF4-FFF2-40B4-BE49-F238E27FC236}">
                <a16:creationId xmlns:a16="http://schemas.microsoft.com/office/drawing/2014/main" id="{5CED58A5-96FD-8D46-A0FA-624E9074C7A2}"/>
              </a:ext>
            </a:extLst>
          </p:cNvPr>
          <p:cNvSpPr txBox="1">
            <a:spLocks/>
          </p:cNvSpPr>
          <p:nvPr/>
        </p:nvSpPr>
        <p:spPr>
          <a:xfrm>
            <a:off x="985086" y="1720958"/>
            <a:ext cx="2788906" cy="809421"/>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Font typeface="Arial" charset="0"/>
              <a:buNone/>
            </a:pPr>
            <a:r>
              <a:rPr lang="en-US" sz="1400" dirty="0"/>
              <a:t>Fewer records impacted</a:t>
            </a:r>
          </a:p>
        </p:txBody>
      </p:sp>
      <p:sp>
        <p:nvSpPr>
          <p:cNvPr id="36" name="Text Placeholder 2">
            <a:extLst>
              <a:ext uri="{FF2B5EF4-FFF2-40B4-BE49-F238E27FC236}">
                <a16:creationId xmlns:a16="http://schemas.microsoft.com/office/drawing/2014/main" id="{3C93BD09-EA6E-8E45-AC99-41D28280BFF7}"/>
              </a:ext>
            </a:extLst>
          </p:cNvPr>
          <p:cNvSpPr txBox="1">
            <a:spLocks/>
          </p:cNvSpPr>
          <p:nvPr/>
        </p:nvSpPr>
        <p:spPr>
          <a:xfrm>
            <a:off x="4994643" y="2668220"/>
            <a:ext cx="2632788" cy="809421"/>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Font typeface="Arial" charset="0"/>
              <a:buNone/>
            </a:pPr>
            <a:r>
              <a:rPr lang="en-US" sz="1400" dirty="0"/>
              <a:t>Lower financial impact</a:t>
            </a:r>
          </a:p>
        </p:txBody>
      </p:sp>
      <p:sp>
        <p:nvSpPr>
          <p:cNvPr id="3" name="Text Placeholder 2">
            <a:extLst>
              <a:ext uri="{FF2B5EF4-FFF2-40B4-BE49-F238E27FC236}">
                <a16:creationId xmlns:a16="http://schemas.microsoft.com/office/drawing/2014/main" id="{C50F58B1-EC0E-DD45-923E-3B18CBDAF06F}"/>
              </a:ext>
            </a:extLst>
          </p:cNvPr>
          <p:cNvSpPr>
            <a:spLocks noGrp="1"/>
          </p:cNvSpPr>
          <p:nvPr>
            <p:ph type="body" sz="quarter" idx="11"/>
          </p:nvPr>
        </p:nvSpPr>
        <p:spPr>
          <a:xfrm>
            <a:off x="5006140" y="497687"/>
            <a:ext cx="3330344" cy="343363"/>
          </a:xfrm>
        </p:spPr>
        <p:txBody>
          <a:bodyPr/>
          <a:lstStyle/>
          <a:p>
            <a:pPr marL="7937" indent="0">
              <a:buNone/>
            </a:pPr>
            <a:r>
              <a:rPr lang="en-US" sz="1400" dirty="0"/>
              <a:t>Fewer hours of system downtime</a:t>
            </a:r>
          </a:p>
        </p:txBody>
      </p:sp>
      <p:grpSp>
        <p:nvGrpSpPr>
          <p:cNvPr id="37" name="Group 36">
            <a:extLst>
              <a:ext uri="{FF2B5EF4-FFF2-40B4-BE49-F238E27FC236}">
                <a16:creationId xmlns:a16="http://schemas.microsoft.com/office/drawing/2014/main" id="{522ED0AF-C248-BF47-8375-2A0972530027}"/>
              </a:ext>
            </a:extLst>
          </p:cNvPr>
          <p:cNvGrpSpPr/>
          <p:nvPr/>
        </p:nvGrpSpPr>
        <p:grpSpPr>
          <a:xfrm rot="1800000">
            <a:off x="2258031" y="2530727"/>
            <a:ext cx="2000635" cy="234737"/>
            <a:chOff x="1533138" y="2205282"/>
            <a:chExt cx="1888531" cy="221584"/>
          </a:xfrm>
          <a:solidFill>
            <a:schemeClr val="accent1"/>
          </a:solidFill>
        </p:grpSpPr>
        <p:sp>
          <p:nvSpPr>
            <p:cNvPr id="38" name="Rounded Rectangle 37">
              <a:extLst>
                <a:ext uri="{FF2B5EF4-FFF2-40B4-BE49-F238E27FC236}">
                  <a16:creationId xmlns:a16="http://schemas.microsoft.com/office/drawing/2014/main" id="{7D8DD93E-99F1-CD43-B928-55E938353EE7}"/>
                </a:ext>
              </a:extLst>
            </p:cNvPr>
            <p:cNvSpPr/>
            <p:nvPr/>
          </p:nvSpPr>
          <p:spPr>
            <a:xfrm>
              <a:off x="1533138" y="2279497"/>
              <a:ext cx="1860702" cy="7315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38">
              <a:extLst>
                <a:ext uri="{FF2B5EF4-FFF2-40B4-BE49-F238E27FC236}">
                  <a16:creationId xmlns:a16="http://schemas.microsoft.com/office/drawing/2014/main" id="{28A05AF5-B2EC-9C4F-8B3F-6FA7919F8AC8}"/>
                </a:ext>
              </a:extLst>
            </p:cNvPr>
            <p:cNvSpPr>
              <a:spLocks noChangeAspect="1"/>
            </p:cNvSpPr>
            <p:nvPr/>
          </p:nvSpPr>
          <p:spPr>
            <a:xfrm rot="13500000">
              <a:off x="3200086" y="2205282"/>
              <a:ext cx="221584" cy="221583"/>
            </a:xfrm>
            <a:custGeom>
              <a:avLst/>
              <a:gdLst>
                <a:gd name="connsiteX0" fmla="*/ 489016 w 3025776"/>
                <a:gd name="connsiteY0" fmla="*/ 0 h 3025775"/>
                <a:gd name="connsiteX1" fmla="*/ 489016 w 3025776"/>
                <a:gd name="connsiteY1" fmla="*/ 1 h 3025775"/>
                <a:gd name="connsiteX2" fmla="*/ 978031 w 3025776"/>
                <a:gd name="connsiteY2" fmla="*/ 489016 h 3025775"/>
                <a:gd name="connsiteX3" fmla="*/ 978030 w 3025776"/>
                <a:gd name="connsiteY3" fmla="*/ 2047747 h 3025775"/>
                <a:gd name="connsiteX4" fmla="*/ 2536762 w 3025776"/>
                <a:gd name="connsiteY4" fmla="*/ 2047747 h 3025775"/>
                <a:gd name="connsiteX5" fmla="*/ 3025776 w 3025776"/>
                <a:gd name="connsiteY5" fmla="*/ 2536761 h 3025775"/>
                <a:gd name="connsiteX6" fmla="*/ 2536762 w 3025776"/>
                <a:gd name="connsiteY6" fmla="*/ 3025775 h 3025775"/>
                <a:gd name="connsiteX7" fmla="*/ 489014 w 3025776"/>
                <a:gd name="connsiteY7" fmla="*/ 3025775 h 3025775"/>
                <a:gd name="connsiteX8" fmla="*/ 0 w 3025776"/>
                <a:gd name="connsiteY8" fmla="*/ 2536761 h 3025775"/>
                <a:gd name="connsiteX9" fmla="*/ 1 w 3025776"/>
                <a:gd name="connsiteY9" fmla="*/ 2536756 h 3025775"/>
                <a:gd name="connsiteX10" fmla="*/ 1 w 3025776"/>
                <a:gd name="connsiteY10" fmla="*/ 489015 h 3025775"/>
                <a:gd name="connsiteX11" fmla="*/ 489016 w 3025776"/>
                <a:gd name="connsiteY11" fmla="*/ 0 h 302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25776" h="3025775">
                  <a:moveTo>
                    <a:pt x="489016" y="0"/>
                  </a:moveTo>
                  <a:lnTo>
                    <a:pt x="489016" y="1"/>
                  </a:lnTo>
                  <a:cubicBezTo>
                    <a:pt x="759092" y="1"/>
                    <a:pt x="978031" y="218940"/>
                    <a:pt x="978031" y="489016"/>
                  </a:cubicBezTo>
                  <a:lnTo>
                    <a:pt x="978030" y="2047747"/>
                  </a:lnTo>
                  <a:lnTo>
                    <a:pt x="2536762" y="2047747"/>
                  </a:lnTo>
                  <a:cubicBezTo>
                    <a:pt x="2806837" y="2047747"/>
                    <a:pt x="3025776" y="2266686"/>
                    <a:pt x="3025776" y="2536761"/>
                  </a:cubicBezTo>
                  <a:cubicBezTo>
                    <a:pt x="3025776" y="2806836"/>
                    <a:pt x="2806837" y="3025775"/>
                    <a:pt x="2536762" y="3025775"/>
                  </a:cubicBezTo>
                  <a:lnTo>
                    <a:pt x="489014" y="3025775"/>
                  </a:lnTo>
                  <a:cubicBezTo>
                    <a:pt x="218939" y="3025775"/>
                    <a:pt x="0" y="2806836"/>
                    <a:pt x="0" y="2536761"/>
                  </a:cubicBezTo>
                  <a:lnTo>
                    <a:pt x="1" y="2536756"/>
                  </a:lnTo>
                  <a:lnTo>
                    <a:pt x="1" y="489015"/>
                  </a:lnTo>
                  <a:cubicBezTo>
                    <a:pt x="1" y="218939"/>
                    <a:pt x="218940" y="0"/>
                    <a:pt x="48901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Rectangle 21">
            <a:extLst>
              <a:ext uri="{FF2B5EF4-FFF2-40B4-BE49-F238E27FC236}">
                <a16:creationId xmlns:a16="http://schemas.microsoft.com/office/drawing/2014/main" id="{D7ED7582-C13B-4D4D-B01F-2FE18DCF8488}"/>
              </a:ext>
            </a:extLst>
          </p:cNvPr>
          <p:cNvSpPr/>
          <p:nvPr/>
        </p:nvSpPr>
        <p:spPr>
          <a:xfrm>
            <a:off x="2894533" y="4785145"/>
            <a:ext cx="3296115" cy="184666"/>
          </a:xfrm>
          <a:prstGeom prst="rect">
            <a:avLst/>
          </a:prstGeom>
        </p:spPr>
        <p:txBody>
          <a:bodyPr wrap="square">
            <a:spAutoFit/>
          </a:bodyPr>
          <a:lstStyle/>
          <a:p>
            <a:pPr algn="r"/>
            <a:r>
              <a:rPr lang="en-US" sz="600" dirty="0">
                <a:solidFill>
                  <a:schemeClr val="bg1">
                    <a:lumMod val="65000"/>
                  </a:schemeClr>
                </a:solidFill>
                <a:latin typeface="+mj-lt"/>
              </a:rPr>
              <a:t>Source: Cisco 2020 CISO Benchmark Study. All percentages rounded.</a:t>
            </a:r>
            <a:endParaRPr lang="en-US" sz="600" dirty="0">
              <a:solidFill>
                <a:schemeClr val="bg1">
                  <a:lumMod val="65000"/>
                </a:schemeClr>
              </a:solidFill>
              <a:effectLst/>
              <a:latin typeface="+mj-lt"/>
            </a:endParaRPr>
          </a:p>
        </p:txBody>
      </p:sp>
      <p:sp>
        <p:nvSpPr>
          <p:cNvPr id="24" name="Rectangle 23">
            <a:hlinkClick r:id="rId6"/>
            <a:extLst>
              <a:ext uri="{FF2B5EF4-FFF2-40B4-BE49-F238E27FC236}">
                <a16:creationId xmlns:a16="http://schemas.microsoft.com/office/drawing/2014/main" id="{D8D0C87E-3DC7-41EB-A8AF-8CBEDE7232C6}"/>
              </a:ext>
            </a:extLst>
          </p:cNvPr>
          <p:cNvSpPr/>
          <p:nvPr/>
        </p:nvSpPr>
        <p:spPr>
          <a:xfrm>
            <a:off x="6026077" y="4705002"/>
            <a:ext cx="2654894" cy="307777"/>
          </a:xfrm>
          <a:prstGeom prst="rect">
            <a:avLst/>
          </a:prstGeom>
        </p:spPr>
        <p:txBody>
          <a:bodyPr wrap="none">
            <a:spAutoFit/>
          </a:bodyPr>
          <a:lstStyle/>
          <a:p>
            <a:r>
              <a:rPr lang="en-US" sz="1400" dirty="0">
                <a:solidFill>
                  <a:schemeClr val="accent2"/>
                </a:solidFill>
                <a:latin typeface="+mj-lt"/>
                <a:hlinkClick r:id="rId7"/>
              </a:rPr>
              <a:t>cisco.com/go/</a:t>
            </a:r>
            <a:r>
              <a:rPr lang="en-US" sz="1400" dirty="0" err="1">
                <a:solidFill>
                  <a:schemeClr val="accent2"/>
                </a:solidFill>
                <a:latin typeface="+mj-lt"/>
                <a:hlinkClick r:id="rId7"/>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127484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6C9348-0BAF-4949-8E6B-9A00F4AE8C6A}"/>
              </a:ext>
            </a:extLst>
          </p:cNvPr>
          <p:cNvSpPr>
            <a:spLocks noGrp="1"/>
          </p:cNvSpPr>
          <p:nvPr>
            <p:ph type="body" sz="quarter" idx="11"/>
          </p:nvPr>
        </p:nvSpPr>
        <p:spPr>
          <a:xfrm>
            <a:off x="441678" y="3206637"/>
            <a:ext cx="8207021" cy="349356"/>
          </a:xfrm>
        </p:spPr>
        <p:txBody>
          <a:bodyPr/>
          <a:lstStyle/>
          <a:p>
            <a:r>
              <a:rPr lang="en-US" sz="1800" dirty="0"/>
              <a:t>Brad Arkin, Senior Vice-President and Chief Security and Trust Officer, Cisco </a:t>
            </a:r>
          </a:p>
          <a:p>
            <a:endParaRPr lang="en-US" sz="1800" dirty="0"/>
          </a:p>
        </p:txBody>
      </p:sp>
      <p:sp>
        <p:nvSpPr>
          <p:cNvPr id="3" name="Title 2">
            <a:extLst>
              <a:ext uri="{FF2B5EF4-FFF2-40B4-BE49-F238E27FC236}">
                <a16:creationId xmlns:a16="http://schemas.microsoft.com/office/drawing/2014/main" id="{CB63B714-7B58-9241-8C09-32530A31E6CC}"/>
              </a:ext>
            </a:extLst>
          </p:cNvPr>
          <p:cNvSpPr>
            <a:spLocks noGrp="1"/>
          </p:cNvSpPr>
          <p:nvPr>
            <p:ph type="ctrTitle"/>
          </p:nvPr>
        </p:nvSpPr>
        <p:spPr>
          <a:xfrm>
            <a:off x="250028" y="1540552"/>
            <a:ext cx="6797544" cy="1635786"/>
          </a:xfrm>
        </p:spPr>
        <p:txBody>
          <a:bodyPr>
            <a:noAutofit/>
          </a:bodyPr>
          <a:lstStyle/>
          <a:p>
            <a:pPr marL="182563" indent="-146050"/>
            <a:r>
              <a:rPr lang="en-GB" sz="2400" dirty="0"/>
              <a:t>“Digital organizations seeking to reduce complexity and manage risk more efficiently will leverage an integrated security platform for unified visibility and intelligence, operational efficiency and simplified security.”</a:t>
            </a:r>
          </a:p>
        </p:txBody>
      </p:sp>
      <p:sp>
        <p:nvSpPr>
          <p:cNvPr id="203" name="Text Placeholder 5">
            <a:extLst>
              <a:ext uri="{FF2B5EF4-FFF2-40B4-BE49-F238E27FC236}">
                <a16:creationId xmlns:a16="http://schemas.microsoft.com/office/drawing/2014/main" id="{D908A895-7CC2-C048-B593-446697BCE9D3}"/>
              </a:ext>
            </a:extLst>
          </p:cNvPr>
          <p:cNvSpPr txBox="1">
            <a:spLocks/>
          </p:cNvSpPr>
          <p:nvPr/>
        </p:nvSpPr>
        <p:spPr>
          <a:xfrm>
            <a:off x="4461618" y="3870055"/>
            <a:ext cx="4426380" cy="73400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0" tIns="45710" rIns="45710" bIns="45710" anchor="t">
            <a:noAutofit/>
          </a:bodyPr>
          <a:lstStyle>
            <a:lvl1pPr marL="169862" marR="0" indent="-169862" algn="l" defTabSz="603574" rtl="0" latinLnBrk="0">
              <a:lnSpc>
                <a:spcPct val="100000"/>
              </a:lnSpc>
              <a:spcBef>
                <a:spcPts val="800"/>
              </a:spcBef>
              <a:spcAft>
                <a:spcPts val="0"/>
              </a:spcAft>
              <a:buClrTx/>
              <a:buSzTx/>
              <a:buFontTx/>
              <a:buNone/>
              <a:tabLst/>
              <a:defRPr sz="1400" b="0" i="0" u="none" strike="noStrike" cap="none" spc="0" baseline="0">
                <a:solidFill>
                  <a:schemeClr val="tx1"/>
                </a:solidFill>
                <a:uFillTx/>
                <a:latin typeface="CiscoSansTT ExtraLight"/>
                <a:ea typeface="CiscoSansTT ExtraLight"/>
                <a:cs typeface="CiscoSansTT ExtraLight"/>
                <a:sym typeface="CiscoSansTT ExtraLight"/>
              </a:defRPr>
            </a:lvl1pPr>
            <a:lvl2pPr marL="169862" marR="0" indent="-26987" algn="l" defTabSz="603574" rtl="0" latinLnBrk="0">
              <a:lnSpc>
                <a:spcPct val="100000"/>
              </a:lnSpc>
              <a:spcBef>
                <a:spcPts val="800"/>
              </a:spcBef>
              <a:spcAft>
                <a:spcPts val="0"/>
              </a:spcAft>
              <a:buClrTx/>
              <a:buSzTx/>
              <a:buFontTx/>
              <a:buNone/>
              <a:tabLst/>
              <a:defRPr sz="1400" b="0" i="0" u="none" strike="noStrike" cap="none" spc="0" baseline="0">
                <a:solidFill>
                  <a:srgbClr val="FFFFFF"/>
                </a:solidFill>
                <a:uFillTx/>
                <a:latin typeface="CiscoSansTT ExtraLight"/>
                <a:ea typeface="CiscoSansTT ExtraLight"/>
                <a:cs typeface="CiscoSansTT ExtraLight"/>
                <a:sym typeface="CiscoSansTT ExtraLight"/>
              </a:defRPr>
            </a:lvl2pPr>
            <a:lvl3pPr marL="169862" marR="0" indent="92074" algn="l" defTabSz="603574" rtl="0" latinLnBrk="0">
              <a:lnSpc>
                <a:spcPct val="100000"/>
              </a:lnSpc>
              <a:spcBef>
                <a:spcPts val="800"/>
              </a:spcBef>
              <a:spcAft>
                <a:spcPts val="0"/>
              </a:spcAft>
              <a:buClrTx/>
              <a:buSzTx/>
              <a:buFontTx/>
              <a:buNone/>
              <a:tabLst/>
              <a:defRPr sz="1400" b="0" i="0" u="none" strike="noStrike" cap="none" spc="0" baseline="0">
                <a:solidFill>
                  <a:srgbClr val="FFFFFF"/>
                </a:solidFill>
                <a:uFillTx/>
                <a:latin typeface="CiscoSansTT ExtraLight"/>
                <a:ea typeface="CiscoSansTT ExtraLight"/>
                <a:cs typeface="CiscoSansTT ExtraLight"/>
                <a:sym typeface="CiscoSansTT ExtraLight"/>
              </a:defRPr>
            </a:lvl3pPr>
            <a:lvl4pPr marL="169862" marR="0" indent="163512" algn="l" defTabSz="603574" rtl="0" latinLnBrk="0">
              <a:lnSpc>
                <a:spcPct val="100000"/>
              </a:lnSpc>
              <a:spcBef>
                <a:spcPts val="800"/>
              </a:spcBef>
              <a:spcAft>
                <a:spcPts val="0"/>
              </a:spcAft>
              <a:buClrTx/>
              <a:buSzTx/>
              <a:buFontTx/>
              <a:buNone/>
              <a:tabLst/>
              <a:defRPr sz="1400" b="0" i="0" u="none" strike="noStrike" cap="none" spc="0" baseline="0">
                <a:solidFill>
                  <a:srgbClr val="FFFFFF"/>
                </a:solidFill>
                <a:uFillTx/>
                <a:latin typeface="CiscoSansTT ExtraLight"/>
                <a:ea typeface="CiscoSansTT ExtraLight"/>
                <a:cs typeface="CiscoSansTT ExtraLight"/>
                <a:sym typeface="CiscoSansTT ExtraLight"/>
              </a:defRPr>
            </a:lvl4pPr>
            <a:lvl5pPr marL="169862" marR="0" indent="234949" algn="l" defTabSz="603574" rtl="0" latinLnBrk="0">
              <a:lnSpc>
                <a:spcPct val="100000"/>
              </a:lnSpc>
              <a:spcBef>
                <a:spcPts val="800"/>
              </a:spcBef>
              <a:spcAft>
                <a:spcPts val="0"/>
              </a:spcAft>
              <a:buClrTx/>
              <a:buSzTx/>
              <a:buFontTx/>
              <a:buNone/>
              <a:tabLst/>
              <a:defRPr sz="1400" b="0" i="0" u="none" strike="noStrike" cap="none" spc="0" baseline="0">
                <a:solidFill>
                  <a:schemeClr val="bg1"/>
                </a:solidFill>
                <a:uFillTx/>
                <a:latin typeface="CiscoSansTT ExtraLight"/>
                <a:ea typeface="CiscoSansTT ExtraLight"/>
                <a:cs typeface="CiscoSansTT ExtraLight"/>
                <a:sym typeface="CiscoSansTT ExtraLight"/>
              </a:defRPr>
            </a:lvl5pPr>
            <a:lvl6pPr marL="978152" marR="0" indent="-285741"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6pPr>
            <a:lvl7pPr marL="1085838" marR="0" indent="-321416"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7pPr>
            <a:lvl8pPr marL="0" marR="0" indent="2400219" algn="l" defTabSz="684212" rtl="0" latinLnBrk="0">
              <a:lnSpc>
                <a:spcPct val="95000"/>
              </a:lnSpc>
              <a:spcBef>
                <a:spcPts val="1000"/>
              </a:spcBef>
              <a:spcAft>
                <a:spcPts val="0"/>
              </a:spcAft>
              <a:buClr>
                <a:srgbClr val="000000"/>
              </a:buClr>
              <a:buSzTx/>
              <a:buFont typeface="Arial"/>
              <a:buNone/>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8pPr>
            <a:lvl9pPr marL="2914552" marR="0" indent="-171444"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9pPr>
          </a:lstStyle>
          <a:p>
            <a:pPr marL="57150" indent="0" hangingPunct="1"/>
            <a:r>
              <a:rPr lang="en-US" dirty="0">
                <a:solidFill>
                  <a:schemeClr val="accent1"/>
                </a:solidFill>
              </a:rPr>
              <a:t>Organizations need foundational, portfolio-wide capabilities at the platform level in order to experience the full potential of all security products. </a:t>
            </a:r>
          </a:p>
        </p:txBody>
      </p:sp>
      <p:sp>
        <p:nvSpPr>
          <p:cNvPr id="6" name="Title 2">
            <a:extLst>
              <a:ext uri="{FF2B5EF4-FFF2-40B4-BE49-F238E27FC236}">
                <a16:creationId xmlns:a16="http://schemas.microsoft.com/office/drawing/2014/main" id="{50CB9FD6-4DA1-634A-8C75-AAC73F6D38F2}"/>
              </a:ext>
            </a:extLst>
          </p:cNvPr>
          <p:cNvSpPr txBox="1">
            <a:spLocks/>
          </p:cNvSpPr>
          <p:nvPr/>
        </p:nvSpPr>
        <p:spPr bwMode="auto">
          <a:xfrm>
            <a:off x="441678" y="300016"/>
            <a:ext cx="8010144" cy="636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b" anchorCtr="0" compatLnSpc="1">
            <a:prstTxWarp prst="textNoShape">
              <a:avLst/>
            </a:prstTxWarp>
            <a:normAutofit/>
          </a:bodyPr>
          <a:lstStyle>
            <a:lvl1pPr marL="183600" indent="-399968" algn="l" defTabSz="684213" rtl="0" eaLnBrk="1" fontAlgn="base" hangingPunct="1">
              <a:lnSpc>
                <a:spcPct val="90000"/>
              </a:lnSpc>
              <a:spcBef>
                <a:spcPct val="0"/>
              </a:spcBef>
              <a:spcAft>
                <a:spcPct val="0"/>
              </a:spcAft>
              <a:defRPr lang="en-US" sz="4000" b="0" i="0" u="none" kern="1200" spc="0" baseline="0">
                <a:solidFill>
                  <a:schemeClr val="bg1"/>
                </a:solidFill>
                <a:latin typeface="+mj-lt"/>
                <a:ea typeface="CiscoSansTT Thin" charset="0"/>
                <a:cs typeface="CiscoSans Thin"/>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GB" sz="2800" dirty="0"/>
              <a:t>A Platform Approach Can Tame the Beast</a:t>
            </a:r>
          </a:p>
        </p:txBody>
      </p:sp>
      <p:sp>
        <p:nvSpPr>
          <p:cNvPr id="8" name="Rectangle 7">
            <a:hlinkClick r:id="rId3"/>
            <a:extLst>
              <a:ext uri="{FF2B5EF4-FFF2-40B4-BE49-F238E27FC236}">
                <a16:creationId xmlns:a16="http://schemas.microsoft.com/office/drawing/2014/main" id="{6D57FA6C-D37A-4712-BD4B-38765F1D9E8D}"/>
              </a:ext>
            </a:extLst>
          </p:cNvPr>
          <p:cNvSpPr/>
          <p:nvPr/>
        </p:nvSpPr>
        <p:spPr>
          <a:xfrm>
            <a:off x="5883446" y="4689595"/>
            <a:ext cx="2654894" cy="307777"/>
          </a:xfrm>
          <a:prstGeom prst="rect">
            <a:avLst/>
          </a:prstGeom>
        </p:spPr>
        <p:txBody>
          <a:bodyPr wrap="none">
            <a:spAutoFit/>
          </a:bodyPr>
          <a:lstStyle/>
          <a:p>
            <a:r>
              <a:rPr lang="en-US" sz="1400" dirty="0">
                <a:solidFill>
                  <a:schemeClr val="accent2"/>
                </a:solidFill>
                <a:latin typeface="+mj-lt"/>
                <a:hlinkClick r:id="rId4"/>
              </a:rPr>
              <a:t>cisco.com/go/</a:t>
            </a:r>
            <a:r>
              <a:rPr lang="en-US" sz="1400" dirty="0" err="1">
                <a:solidFill>
                  <a:schemeClr val="accent2"/>
                </a:solidFill>
                <a:latin typeface="+mj-lt"/>
                <a:hlinkClick r:id="rId4"/>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91780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560FA08-3936-CA46-BC3C-7506CC798D26}"/>
              </a:ext>
            </a:extLst>
          </p:cNvPr>
          <p:cNvGrpSpPr/>
          <p:nvPr/>
        </p:nvGrpSpPr>
        <p:grpSpPr>
          <a:xfrm>
            <a:off x="4660215" y="1205276"/>
            <a:ext cx="4360000" cy="3675189"/>
            <a:chOff x="3532412" y="378053"/>
            <a:chExt cx="5231893" cy="4379702"/>
          </a:xfrm>
        </p:grpSpPr>
        <p:sp>
          <p:nvSpPr>
            <p:cNvPr id="7" name="Arc 6">
              <a:extLst>
                <a:ext uri="{FF2B5EF4-FFF2-40B4-BE49-F238E27FC236}">
                  <a16:creationId xmlns:a16="http://schemas.microsoft.com/office/drawing/2014/main" id="{AC6FBA2E-0686-4B4C-86F9-03B46BE65C47}"/>
                </a:ext>
              </a:extLst>
            </p:cNvPr>
            <p:cNvSpPr/>
            <p:nvPr/>
          </p:nvSpPr>
          <p:spPr>
            <a:xfrm rot="18933054" flipH="1" flipV="1">
              <a:off x="4428231" y="632820"/>
              <a:ext cx="3515712" cy="3448226"/>
            </a:xfrm>
            <a:prstGeom prst="arc">
              <a:avLst>
                <a:gd name="adj1" fmla="val 7275060"/>
                <a:gd name="adj2" fmla="val 11755664"/>
              </a:avLst>
            </a:prstGeom>
            <a:noFill/>
            <a:ln w="19050" cap="rnd" cmpd="sng" algn="ctr">
              <a:solidFill>
                <a:srgbClr val="6EBE4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8" name="Arc 7">
              <a:extLst>
                <a:ext uri="{FF2B5EF4-FFF2-40B4-BE49-F238E27FC236}">
                  <a16:creationId xmlns:a16="http://schemas.microsoft.com/office/drawing/2014/main" id="{5850C525-4C79-544C-89B8-F8403AB7BDD9}"/>
                </a:ext>
              </a:extLst>
            </p:cNvPr>
            <p:cNvSpPr/>
            <p:nvPr/>
          </p:nvSpPr>
          <p:spPr>
            <a:xfrm rot="19073015">
              <a:off x="4414563" y="618724"/>
              <a:ext cx="3512428" cy="3445004"/>
            </a:xfrm>
            <a:prstGeom prst="arc">
              <a:avLst>
                <a:gd name="adj1" fmla="val 7130408"/>
                <a:gd name="adj2" fmla="val 11913989"/>
              </a:avLst>
            </a:prstGeom>
            <a:noFill/>
            <a:ln w="19050" cap="rnd" cmpd="sng" algn="ctr">
              <a:solidFill>
                <a:srgbClr val="00BCEB"/>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grpSp>
          <p:nvGrpSpPr>
            <p:cNvPr id="9" name="Group 8">
              <a:extLst>
                <a:ext uri="{FF2B5EF4-FFF2-40B4-BE49-F238E27FC236}">
                  <a16:creationId xmlns:a16="http://schemas.microsoft.com/office/drawing/2014/main" id="{C5766495-DDE8-8749-9EF3-8634A3C4B36B}"/>
                </a:ext>
              </a:extLst>
            </p:cNvPr>
            <p:cNvGrpSpPr/>
            <p:nvPr/>
          </p:nvGrpSpPr>
          <p:grpSpPr>
            <a:xfrm>
              <a:off x="3532412" y="378053"/>
              <a:ext cx="5231893" cy="4379702"/>
              <a:chOff x="3532412" y="378053"/>
              <a:chExt cx="5231893" cy="4379702"/>
            </a:xfrm>
          </p:grpSpPr>
          <p:sp>
            <p:nvSpPr>
              <p:cNvPr id="10" name="Rectangle 9">
                <a:extLst>
                  <a:ext uri="{FF2B5EF4-FFF2-40B4-BE49-F238E27FC236}">
                    <a16:creationId xmlns:a16="http://schemas.microsoft.com/office/drawing/2014/main" id="{C01EF90E-1FF6-3244-9724-9478F9D7E25A}"/>
                  </a:ext>
                </a:extLst>
              </p:cNvPr>
              <p:cNvSpPr/>
              <p:nvPr/>
            </p:nvSpPr>
            <p:spPr>
              <a:xfrm rot="5400000">
                <a:off x="6140222" y="1828344"/>
                <a:ext cx="64533" cy="331813"/>
              </a:xfrm>
              <a:prstGeom prst="rect">
                <a:avLst/>
              </a:prstGeom>
              <a:solidFill>
                <a:srgbClr val="9E9EA2">
                  <a:lumMod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1" name="Oval 10">
                <a:extLst>
                  <a:ext uri="{FF2B5EF4-FFF2-40B4-BE49-F238E27FC236}">
                    <a16:creationId xmlns:a16="http://schemas.microsoft.com/office/drawing/2014/main" id="{089510BA-1283-E840-974C-C7E136C3DE02}"/>
                  </a:ext>
                </a:extLst>
              </p:cNvPr>
              <p:cNvSpPr>
                <a:spLocks noChangeAspect="1"/>
              </p:cNvSpPr>
              <p:nvPr/>
            </p:nvSpPr>
            <p:spPr>
              <a:xfrm>
                <a:off x="5832890" y="3642167"/>
                <a:ext cx="675958" cy="676332"/>
              </a:xfrm>
              <a:prstGeom prst="ellipse">
                <a:avLst/>
              </a:prstGeom>
              <a:solidFill>
                <a:srgbClr val="6EBE4A">
                  <a:alpha val="66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2" name="Oval 11">
                <a:extLst>
                  <a:ext uri="{FF2B5EF4-FFF2-40B4-BE49-F238E27FC236}">
                    <a16:creationId xmlns:a16="http://schemas.microsoft.com/office/drawing/2014/main" id="{A8CF3919-2CB5-C64D-9424-47128357A9B2}"/>
                  </a:ext>
                </a:extLst>
              </p:cNvPr>
              <p:cNvSpPr>
                <a:spLocks noChangeAspect="1"/>
              </p:cNvSpPr>
              <p:nvPr/>
            </p:nvSpPr>
            <p:spPr>
              <a:xfrm>
                <a:off x="5832890" y="378053"/>
                <a:ext cx="675958" cy="676332"/>
              </a:xfrm>
              <a:prstGeom prst="ellipse">
                <a:avLst/>
              </a:prstGeom>
              <a:solidFill>
                <a:srgbClr val="00BCEB">
                  <a:alpha val="66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3" name="Freeform: Shape 103">
                <a:extLst>
                  <a:ext uri="{FF2B5EF4-FFF2-40B4-BE49-F238E27FC236}">
                    <a16:creationId xmlns:a16="http://schemas.microsoft.com/office/drawing/2014/main" id="{CBBC8E29-E705-B84B-840E-35C8C80010C2}"/>
                  </a:ext>
                </a:extLst>
              </p:cNvPr>
              <p:cNvSpPr/>
              <p:nvPr/>
            </p:nvSpPr>
            <p:spPr>
              <a:xfrm rot="5400000">
                <a:off x="6675952" y="1906404"/>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rgbClr val="9E9EA2">
                  <a:alpha val="60000"/>
                </a:srgbClr>
              </a:solidFill>
              <a:ln w="127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4" name="Freeform: Shape 101">
                <a:extLst>
                  <a:ext uri="{FF2B5EF4-FFF2-40B4-BE49-F238E27FC236}">
                    <a16:creationId xmlns:a16="http://schemas.microsoft.com/office/drawing/2014/main" id="{F691CEAE-332C-C149-B8F6-9B8CFB95426D}"/>
                  </a:ext>
                </a:extLst>
              </p:cNvPr>
              <p:cNvSpPr/>
              <p:nvPr/>
            </p:nvSpPr>
            <p:spPr>
              <a:xfrm flipV="1">
                <a:off x="5856935" y="2721596"/>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rgbClr val="9E9EA2">
                  <a:alpha val="60000"/>
                </a:srgbClr>
              </a:solidFill>
              <a:ln w="127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5" name="Freeform: Shape 91">
                <a:extLst>
                  <a:ext uri="{FF2B5EF4-FFF2-40B4-BE49-F238E27FC236}">
                    <a16:creationId xmlns:a16="http://schemas.microsoft.com/office/drawing/2014/main" id="{E293AB24-DA93-EB47-88B4-0516ECEEA701}"/>
                  </a:ext>
                </a:extLst>
              </p:cNvPr>
              <p:cNvSpPr/>
              <p:nvPr/>
            </p:nvSpPr>
            <p:spPr>
              <a:xfrm>
                <a:off x="5856935" y="1088035"/>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rgbClr val="9E9EA2">
                  <a:alpha val="60000"/>
                </a:srgbClr>
              </a:solidFill>
              <a:ln w="127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16" name="Oval 15">
                <a:extLst>
                  <a:ext uri="{FF2B5EF4-FFF2-40B4-BE49-F238E27FC236}">
                    <a16:creationId xmlns:a16="http://schemas.microsoft.com/office/drawing/2014/main" id="{91EF0831-EFDD-A14F-B6DC-BA385BC7481D}"/>
                  </a:ext>
                </a:extLst>
              </p:cNvPr>
              <p:cNvSpPr/>
              <p:nvPr/>
            </p:nvSpPr>
            <p:spPr>
              <a:xfrm>
                <a:off x="4782026" y="901179"/>
                <a:ext cx="505845" cy="505845"/>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17" name="Rectangle 16">
                <a:extLst>
                  <a:ext uri="{FF2B5EF4-FFF2-40B4-BE49-F238E27FC236}">
                    <a16:creationId xmlns:a16="http://schemas.microsoft.com/office/drawing/2014/main" id="{5605FF9A-6C14-CC4C-A3FC-F41939E9240B}"/>
                  </a:ext>
                </a:extLst>
              </p:cNvPr>
              <p:cNvSpPr/>
              <p:nvPr/>
            </p:nvSpPr>
            <p:spPr>
              <a:xfrm>
                <a:off x="3840571" y="4413209"/>
                <a:ext cx="4784727" cy="344546"/>
              </a:xfrm>
              <a:prstGeom prst="rect">
                <a:avLst/>
              </a:prstGeom>
              <a:noFill/>
              <a:ln w="9525" cap="flat" cmpd="sng" algn="ctr">
                <a:noFill/>
                <a:prstDash val="solid"/>
              </a:ln>
              <a:effectLst/>
            </p:spPr>
            <p:txBody>
              <a:bodyPr rtlCol="0" anchor="ctr"/>
              <a:lstStyle/>
              <a:p>
                <a:pPr marL="0" marR="0" lvl="0" indent="0" algn="ctr" defTabSz="684213" eaLnBrk="1" fontAlgn="base" latinLnBrk="0" hangingPunct="1">
                  <a:lnSpc>
                    <a:spcPct val="100000"/>
                  </a:lnSpc>
                  <a:spcBef>
                    <a:spcPct val="0"/>
                  </a:spcBef>
                  <a:spcAft>
                    <a:spcPct val="0"/>
                  </a:spcAft>
                  <a:buClrTx/>
                  <a:buSzTx/>
                  <a:buFontTx/>
                  <a:buNone/>
                  <a:tabLst/>
                  <a:defRPr/>
                </a:pPr>
                <a:r>
                  <a:rPr kumimoji="0" lang="en-US" sz="1600" u="none" strike="noStrike" kern="1200" cap="none" spc="0" normalizeH="0" baseline="0" noProof="0">
                    <a:ln>
                      <a:noFill/>
                    </a:ln>
                    <a:solidFill>
                      <a:srgbClr val="0D274D"/>
                    </a:solidFill>
                    <a:effectLst/>
                    <a:uLnTx/>
                    <a:uFillTx/>
                    <a:latin typeface="+mj-lt"/>
                    <a:ea typeface="ＭＳ Ｐゴシック" charset="0"/>
                    <a:cs typeface="CiscoSansTT Light" panose="020B0503020201020303" pitchFamily="34" charset="0"/>
                  </a:rPr>
                  <a:t>Security Platform</a:t>
                </a:r>
              </a:p>
            </p:txBody>
          </p:sp>
          <p:grpSp>
            <p:nvGrpSpPr>
              <p:cNvPr id="18" name="Group 17">
                <a:extLst>
                  <a:ext uri="{FF2B5EF4-FFF2-40B4-BE49-F238E27FC236}">
                    <a16:creationId xmlns:a16="http://schemas.microsoft.com/office/drawing/2014/main" id="{6D512D56-E68D-4D4C-81B3-A14DF2C94471}"/>
                  </a:ext>
                </a:extLst>
              </p:cNvPr>
              <p:cNvGrpSpPr/>
              <p:nvPr/>
            </p:nvGrpSpPr>
            <p:grpSpPr>
              <a:xfrm>
                <a:off x="4497363" y="699963"/>
                <a:ext cx="3362138" cy="3298231"/>
                <a:chOff x="4497363" y="699963"/>
                <a:chExt cx="3362138" cy="3298231"/>
              </a:xfrm>
            </p:grpSpPr>
            <p:sp>
              <p:nvSpPr>
                <p:cNvPr id="114" name="Arc 113">
                  <a:extLst>
                    <a:ext uri="{FF2B5EF4-FFF2-40B4-BE49-F238E27FC236}">
                      <a16:creationId xmlns:a16="http://schemas.microsoft.com/office/drawing/2014/main" id="{EC6F10E7-24C1-984C-B1BF-3CEEE1616481}"/>
                    </a:ext>
                  </a:extLst>
                </p:cNvPr>
                <p:cNvSpPr/>
                <p:nvPr/>
              </p:nvSpPr>
              <p:spPr>
                <a:xfrm rot="18933054" flipH="1" flipV="1">
                  <a:off x="4511378" y="714341"/>
                  <a:ext cx="3348123" cy="3283853"/>
                </a:xfrm>
                <a:prstGeom prst="arc">
                  <a:avLst>
                    <a:gd name="adj1" fmla="val 6944269"/>
                    <a:gd name="adj2" fmla="val 14864709"/>
                  </a:avLst>
                </a:prstGeom>
                <a:noFill/>
                <a:ln w="19050" cap="rnd" cmpd="sng" algn="ctr">
                  <a:solidFill>
                    <a:srgbClr val="0D27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115" name="Arc 114">
                  <a:extLst>
                    <a:ext uri="{FF2B5EF4-FFF2-40B4-BE49-F238E27FC236}">
                      <a16:creationId xmlns:a16="http://schemas.microsoft.com/office/drawing/2014/main" id="{658F9DA7-E8E0-A042-B10C-87D6670433DE}"/>
                    </a:ext>
                  </a:extLst>
                </p:cNvPr>
                <p:cNvSpPr/>
                <p:nvPr/>
              </p:nvSpPr>
              <p:spPr>
                <a:xfrm rot="19073015">
                  <a:off x="4497363" y="699963"/>
                  <a:ext cx="3348123" cy="3283854"/>
                </a:xfrm>
                <a:prstGeom prst="arc">
                  <a:avLst>
                    <a:gd name="adj1" fmla="val 6607479"/>
                    <a:gd name="adj2" fmla="val 14695467"/>
                  </a:avLst>
                </a:prstGeom>
                <a:noFill/>
                <a:ln w="19050" cap="rnd" cmpd="sng" algn="ctr">
                  <a:solidFill>
                    <a:srgbClr val="0D27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grpSp>
          <p:sp>
            <p:nvSpPr>
              <p:cNvPr id="19" name="Rectangle 18">
                <a:extLst>
                  <a:ext uri="{FF2B5EF4-FFF2-40B4-BE49-F238E27FC236}">
                    <a16:creationId xmlns:a16="http://schemas.microsoft.com/office/drawing/2014/main" id="{25097226-E85A-964A-9419-99054451A92A}"/>
                  </a:ext>
                </a:extLst>
              </p:cNvPr>
              <p:cNvSpPr/>
              <p:nvPr/>
            </p:nvSpPr>
            <p:spPr>
              <a:xfrm>
                <a:off x="7715119" y="2725385"/>
                <a:ext cx="1049186" cy="550164"/>
              </a:xfrm>
              <a:prstGeom prst="rect">
                <a:avLst/>
              </a:prstGeom>
            </p:spPr>
            <p:txBody>
              <a:bodyPr wrap="square" lIns="0" tIns="0" rIns="0" bIns="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D274D"/>
                    </a:solidFill>
                    <a:effectLst/>
                    <a:uLnTx/>
                    <a:uFillTx/>
                    <a:latin typeface="+mj-lt"/>
                    <a:ea typeface="ＭＳ Ｐゴシック" charset="0"/>
                  </a:rPr>
                  <a:t>Constant Threat Intelligence</a:t>
                </a:r>
              </a:p>
            </p:txBody>
          </p:sp>
          <p:sp>
            <p:nvSpPr>
              <p:cNvPr id="20" name="Freeform: Shape 83">
                <a:extLst>
                  <a:ext uri="{FF2B5EF4-FFF2-40B4-BE49-F238E27FC236}">
                    <a16:creationId xmlns:a16="http://schemas.microsoft.com/office/drawing/2014/main" id="{40D7F392-046A-D04C-A9FA-CE4814BB79EE}"/>
                  </a:ext>
                </a:extLst>
              </p:cNvPr>
              <p:cNvSpPr/>
              <p:nvPr/>
            </p:nvSpPr>
            <p:spPr>
              <a:xfrm>
                <a:off x="5855939" y="2026517"/>
                <a:ext cx="633098" cy="635644"/>
              </a:xfrm>
              <a:custGeom>
                <a:avLst/>
                <a:gdLst>
                  <a:gd name="connsiteX0" fmla="*/ 0 w 633098"/>
                  <a:gd name="connsiteY0" fmla="*/ 0 h 635644"/>
                  <a:gd name="connsiteX1" fmla="*/ 633098 w 633098"/>
                  <a:gd name="connsiteY1" fmla="*/ 0 h 635644"/>
                  <a:gd name="connsiteX2" fmla="*/ 633098 w 633098"/>
                  <a:gd name="connsiteY2" fmla="*/ 635644 h 635644"/>
                  <a:gd name="connsiteX3" fmla="*/ 0 w 633098"/>
                  <a:gd name="connsiteY3" fmla="*/ 635644 h 635644"/>
                  <a:gd name="connsiteX4" fmla="*/ 0 w 633098"/>
                  <a:gd name="connsiteY4" fmla="*/ 0 h 635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098" h="635644">
                    <a:moveTo>
                      <a:pt x="0" y="0"/>
                    </a:moveTo>
                    <a:lnTo>
                      <a:pt x="633098" y="0"/>
                    </a:lnTo>
                    <a:lnTo>
                      <a:pt x="633098" y="635644"/>
                    </a:lnTo>
                    <a:lnTo>
                      <a:pt x="0" y="635644"/>
                    </a:lnTo>
                    <a:lnTo>
                      <a:pt x="0" y="0"/>
                    </a:lnTo>
                    <a:close/>
                  </a:path>
                </a:pathLst>
              </a:custGeom>
              <a:solidFill>
                <a:srgbClr val="0D274D"/>
              </a:solidFill>
              <a:ln w="127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21" name="Rectangle 20">
                <a:extLst>
                  <a:ext uri="{FF2B5EF4-FFF2-40B4-BE49-F238E27FC236}">
                    <a16:creationId xmlns:a16="http://schemas.microsoft.com/office/drawing/2014/main" id="{22B3F84A-C523-C441-9DFC-9926FDF1BE91}"/>
                  </a:ext>
                </a:extLst>
              </p:cNvPr>
              <p:cNvSpPr/>
              <p:nvPr/>
            </p:nvSpPr>
            <p:spPr>
              <a:xfrm>
                <a:off x="5860704" y="1739670"/>
                <a:ext cx="623570" cy="128372"/>
              </a:xfrm>
              <a:prstGeom prst="rect">
                <a:avLst/>
              </a:prstGeom>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mj-lt"/>
                  </a:rPr>
                  <a:t>Endpoint</a:t>
                </a:r>
              </a:p>
            </p:txBody>
          </p:sp>
          <p:sp>
            <p:nvSpPr>
              <p:cNvPr id="22" name="Rectangle 21">
                <a:extLst>
                  <a:ext uri="{FF2B5EF4-FFF2-40B4-BE49-F238E27FC236}">
                    <a16:creationId xmlns:a16="http://schemas.microsoft.com/office/drawing/2014/main" id="{2EE67912-3478-A246-ACA1-7053DE8893C4}"/>
                  </a:ext>
                </a:extLst>
              </p:cNvPr>
              <p:cNvSpPr/>
              <p:nvPr/>
            </p:nvSpPr>
            <p:spPr>
              <a:xfrm>
                <a:off x="5906075" y="3185056"/>
                <a:ext cx="532828" cy="128372"/>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chemeClr val="bg1"/>
                    </a:solidFill>
                    <a:effectLst/>
                    <a:uLnTx/>
                    <a:uFillTx/>
                    <a:latin typeface="+mj-lt"/>
                  </a:rPr>
                  <a:t>Application</a:t>
                </a:r>
              </a:p>
            </p:txBody>
          </p:sp>
          <p:sp>
            <p:nvSpPr>
              <p:cNvPr id="23" name="Rectangle 22">
                <a:extLst>
                  <a:ext uri="{FF2B5EF4-FFF2-40B4-BE49-F238E27FC236}">
                    <a16:creationId xmlns:a16="http://schemas.microsoft.com/office/drawing/2014/main" id="{92E62DFA-1A90-4A43-B7C7-58E22D1525C3}"/>
                  </a:ext>
                </a:extLst>
              </p:cNvPr>
              <p:cNvSpPr/>
              <p:nvPr/>
            </p:nvSpPr>
            <p:spPr>
              <a:xfrm>
                <a:off x="5854141" y="2158262"/>
                <a:ext cx="636699" cy="385114"/>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chemeClr val="tx1"/>
                    </a:solidFill>
                    <a:effectLst/>
                    <a:uLnTx/>
                    <a:uFillTx/>
                    <a:latin typeface="+mj-lt"/>
                  </a:rPr>
                  <a:t>Respons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chemeClr val="tx1"/>
                    </a:solidFill>
                    <a:effectLst/>
                    <a:uLnTx/>
                    <a:uFillTx/>
                    <a:latin typeface="+mj-lt"/>
                  </a:rPr>
                  <a:t>Analytics</a:t>
                </a:r>
                <a:br>
                  <a:rPr kumimoji="0" lang="en-US" sz="700" b="1" i="0" u="none" strike="noStrike" kern="0" cap="none" spc="0" normalizeH="0" baseline="0" noProof="0" dirty="0">
                    <a:ln>
                      <a:noFill/>
                    </a:ln>
                    <a:solidFill>
                      <a:schemeClr val="tx1"/>
                    </a:solidFill>
                    <a:effectLst/>
                    <a:uLnTx/>
                    <a:uFillTx/>
                    <a:latin typeface="+mj-lt"/>
                  </a:rPr>
                </a:br>
                <a:r>
                  <a:rPr kumimoji="0" lang="en-US" sz="700" b="1" i="0" u="none" strike="noStrike" kern="0" cap="none" spc="0" normalizeH="0" baseline="0" noProof="0" dirty="0">
                    <a:ln>
                      <a:noFill/>
                    </a:ln>
                    <a:solidFill>
                      <a:schemeClr val="tx1"/>
                    </a:solidFill>
                    <a:effectLst/>
                    <a:uLnTx/>
                    <a:uFillTx/>
                    <a:latin typeface="+mj-lt"/>
                  </a:rPr>
                  <a:t>Management</a:t>
                </a:r>
              </a:p>
            </p:txBody>
          </p:sp>
          <p:grpSp>
            <p:nvGrpSpPr>
              <p:cNvPr id="24" name="Group 23">
                <a:extLst>
                  <a:ext uri="{FF2B5EF4-FFF2-40B4-BE49-F238E27FC236}">
                    <a16:creationId xmlns:a16="http://schemas.microsoft.com/office/drawing/2014/main" id="{D4E5AC08-D612-114F-B2D5-5E5491AC9F4C}"/>
                  </a:ext>
                </a:extLst>
              </p:cNvPr>
              <p:cNvGrpSpPr/>
              <p:nvPr/>
            </p:nvGrpSpPr>
            <p:grpSpPr>
              <a:xfrm>
                <a:off x="5986436" y="2804810"/>
                <a:ext cx="372111" cy="344547"/>
                <a:chOff x="3692092" y="1799190"/>
                <a:chExt cx="1147762" cy="1062743"/>
              </a:xfrm>
            </p:grpSpPr>
            <p:sp>
              <p:nvSpPr>
                <p:cNvPr id="107" name="Freeform 5">
                  <a:extLst>
                    <a:ext uri="{FF2B5EF4-FFF2-40B4-BE49-F238E27FC236}">
                      <a16:creationId xmlns:a16="http://schemas.microsoft.com/office/drawing/2014/main" id="{56DE30E2-49D8-3F41-B121-5B6E87498809}"/>
                    </a:ext>
                  </a:extLst>
                </p:cNvPr>
                <p:cNvSpPr>
                  <a:spLocks noEditPoints="1"/>
                </p:cNvSpPr>
                <p:nvPr/>
              </p:nvSpPr>
              <p:spPr bwMode="auto">
                <a:xfrm>
                  <a:off x="3692092" y="2303234"/>
                  <a:ext cx="570845" cy="558699"/>
                </a:xfrm>
                <a:custGeom>
                  <a:avLst/>
                  <a:gdLst>
                    <a:gd name="T0" fmla="*/ 117 w 137"/>
                    <a:gd name="T1" fmla="*/ 134 h 134"/>
                    <a:gd name="T2" fmla="*/ 21 w 137"/>
                    <a:gd name="T3" fmla="*/ 134 h 134"/>
                    <a:gd name="T4" fmla="*/ 0 w 137"/>
                    <a:gd name="T5" fmla="*/ 113 h 134"/>
                    <a:gd name="T6" fmla="*/ 0 w 137"/>
                    <a:gd name="T7" fmla="*/ 21 h 134"/>
                    <a:gd name="T8" fmla="*/ 21 w 137"/>
                    <a:gd name="T9" fmla="*/ 0 h 134"/>
                    <a:gd name="T10" fmla="*/ 117 w 137"/>
                    <a:gd name="T11" fmla="*/ 0 h 134"/>
                    <a:gd name="T12" fmla="*/ 137 w 137"/>
                    <a:gd name="T13" fmla="*/ 21 h 134"/>
                    <a:gd name="T14" fmla="*/ 137 w 137"/>
                    <a:gd name="T15" fmla="*/ 113 h 134"/>
                    <a:gd name="T16" fmla="*/ 117 w 137"/>
                    <a:gd name="T17" fmla="*/ 134 h 134"/>
                    <a:gd name="T18" fmla="*/ 21 w 137"/>
                    <a:gd name="T19" fmla="*/ 4 h 134"/>
                    <a:gd name="T20" fmla="*/ 4 w 137"/>
                    <a:gd name="T21" fmla="*/ 21 h 134"/>
                    <a:gd name="T22" fmla="*/ 4 w 137"/>
                    <a:gd name="T23" fmla="*/ 113 h 134"/>
                    <a:gd name="T24" fmla="*/ 21 w 137"/>
                    <a:gd name="T25" fmla="*/ 130 h 134"/>
                    <a:gd name="T26" fmla="*/ 117 w 137"/>
                    <a:gd name="T27" fmla="*/ 130 h 134"/>
                    <a:gd name="T28" fmla="*/ 133 w 137"/>
                    <a:gd name="T29" fmla="*/ 113 h 134"/>
                    <a:gd name="T30" fmla="*/ 133 w 137"/>
                    <a:gd name="T31" fmla="*/ 21 h 134"/>
                    <a:gd name="T32" fmla="*/ 117 w 137"/>
                    <a:gd name="T33" fmla="*/ 4 h 134"/>
                    <a:gd name="T34" fmla="*/ 21 w 137"/>
                    <a:gd name="T35" fmla="*/ 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34">
                      <a:moveTo>
                        <a:pt x="117" y="134"/>
                      </a:moveTo>
                      <a:cubicBezTo>
                        <a:pt x="21" y="134"/>
                        <a:pt x="21" y="134"/>
                        <a:pt x="21" y="134"/>
                      </a:cubicBezTo>
                      <a:cubicBezTo>
                        <a:pt x="9" y="134"/>
                        <a:pt x="0" y="125"/>
                        <a:pt x="0" y="113"/>
                      </a:cubicBezTo>
                      <a:cubicBezTo>
                        <a:pt x="0" y="21"/>
                        <a:pt x="0" y="21"/>
                        <a:pt x="0" y="21"/>
                      </a:cubicBezTo>
                      <a:cubicBezTo>
                        <a:pt x="0" y="10"/>
                        <a:pt x="9" y="0"/>
                        <a:pt x="21" y="0"/>
                      </a:cubicBezTo>
                      <a:cubicBezTo>
                        <a:pt x="117" y="0"/>
                        <a:pt x="117" y="0"/>
                        <a:pt x="117" y="0"/>
                      </a:cubicBezTo>
                      <a:cubicBezTo>
                        <a:pt x="128" y="0"/>
                        <a:pt x="137" y="10"/>
                        <a:pt x="137" y="21"/>
                      </a:cubicBezTo>
                      <a:cubicBezTo>
                        <a:pt x="137" y="113"/>
                        <a:pt x="137" y="113"/>
                        <a:pt x="137" y="113"/>
                      </a:cubicBezTo>
                      <a:cubicBezTo>
                        <a:pt x="137" y="125"/>
                        <a:pt x="128" y="134"/>
                        <a:pt x="117" y="134"/>
                      </a:cubicBezTo>
                      <a:close/>
                      <a:moveTo>
                        <a:pt x="21" y="4"/>
                      </a:moveTo>
                      <a:cubicBezTo>
                        <a:pt x="12" y="4"/>
                        <a:pt x="4" y="12"/>
                        <a:pt x="4" y="21"/>
                      </a:cubicBezTo>
                      <a:cubicBezTo>
                        <a:pt x="4" y="113"/>
                        <a:pt x="4" y="113"/>
                        <a:pt x="4" y="113"/>
                      </a:cubicBezTo>
                      <a:cubicBezTo>
                        <a:pt x="4" y="123"/>
                        <a:pt x="12" y="130"/>
                        <a:pt x="21" y="130"/>
                      </a:cubicBezTo>
                      <a:cubicBezTo>
                        <a:pt x="117" y="130"/>
                        <a:pt x="117" y="130"/>
                        <a:pt x="117" y="130"/>
                      </a:cubicBezTo>
                      <a:cubicBezTo>
                        <a:pt x="126" y="130"/>
                        <a:pt x="133" y="123"/>
                        <a:pt x="133" y="113"/>
                      </a:cubicBezTo>
                      <a:cubicBezTo>
                        <a:pt x="133" y="21"/>
                        <a:pt x="133" y="21"/>
                        <a:pt x="133" y="21"/>
                      </a:cubicBezTo>
                      <a:cubicBezTo>
                        <a:pt x="133" y="12"/>
                        <a:pt x="126" y="4"/>
                        <a:pt x="117" y="4"/>
                      </a:cubicBezTo>
                      <a:lnTo>
                        <a:pt x="21" y="4"/>
                      </a:ln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8" name="Freeform 6">
                  <a:extLst>
                    <a:ext uri="{FF2B5EF4-FFF2-40B4-BE49-F238E27FC236}">
                      <a16:creationId xmlns:a16="http://schemas.microsoft.com/office/drawing/2014/main" id="{D7C5B8AE-273F-F042-850A-88FA526A6589}"/>
                    </a:ext>
                  </a:extLst>
                </p:cNvPr>
                <p:cNvSpPr>
                  <a:spLocks noEditPoints="1"/>
                </p:cNvSpPr>
                <p:nvPr/>
              </p:nvSpPr>
              <p:spPr bwMode="auto">
                <a:xfrm>
                  <a:off x="4269009" y="1799190"/>
                  <a:ext cx="570845" cy="555664"/>
                </a:xfrm>
                <a:custGeom>
                  <a:avLst/>
                  <a:gdLst>
                    <a:gd name="T0" fmla="*/ 116 w 137"/>
                    <a:gd name="T1" fmla="*/ 133 h 133"/>
                    <a:gd name="T2" fmla="*/ 20 w 137"/>
                    <a:gd name="T3" fmla="*/ 133 h 133"/>
                    <a:gd name="T4" fmla="*/ 0 w 137"/>
                    <a:gd name="T5" fmla="*/ 113 h 133"/>
                    <a:gd name="T6" fmla="*/ 0 w 137"/>
                    <a:gd name="T7" fmla="*/ 20 h 133"/>
                    <a:gd name="T8" fmla="*/ 20 w 137"/>
                    <a:gd name="T9" fmla="*/ 0 h 133"/>
                    <a:gd name="T10" fmla="*/ 116 w 137"/>
                    <a:gd name="T11" fmla="*/ 0 h 133"/>
                    <a:gd name="T12" fmla="*/ 137 w 137"/>
                    <a:gd name="T13" fmla="*/ 20 h 133"/>
                    <a:gd name="T14" fmla="*/ 137 w 137"/>
                    <a:gd name="T15" fmla="*/ 113 h 133"/>
                    <a:gd name="T16" fmla="*/ 116 w 137"/>
                    <a:gd name="T17" fmla="*/ 133 h 133"/>
                    <a:gd name="T18" fmla="*/ 20 w 137"/>
                    <a:gd name="T19" fmla="*/ 4 h 133"/>
                    <a:gd name="T20" fmla="*/ 4 w 137"/>
                    <a:gd name="T21" fmla="*/ 20 h 133"/>
                    <a:gd name="T22" fmla="*/ 4 w 137"/>
                    <a:gd name="T23" fmla="*/ 113 h 133"/>
                    <a:gd name="T24" fmla="*/ 20 w 137"/>
                    <a:gd name="T25" fmla="*/ 129 h 133"/>
                    <a:gd name="T26" fmla="*/ 116 w 137"/>
                    <a:gd name="T27" fmla="*/ 129 h 133"/>
                    <a:gd name="T28" fmla="*/ 133 w 137"/>
                    <a:gd name="T29" fmla="*/ 113 h 133"/>
                    <a:gd name="T30" fmla="*/ 133 w 137"/>
                    <a:gd name="T31" fmla="*/ 20 h 133"/>
                    <a:gd name="T32" fmla="*/ 116 w 137"/>
                    <a:gd name="T33" fmla="*/ 4 h 133"/>
                    <a:gd name="T34" fmla="*/ 20 w 137"/>
                    <a:gd name="T35"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33">
                      <a:moveTo>
                        <a:pt x="116" y="133"/>
                      </a:moveTo>
                      <a:cubicBezTo>
                        <a:pt x="20" y="133"/>
                        <a:pt x="20" y="133"/>
                        <a:pt x="20" y="133"/>
                      </a:cubicBezTo>
                      <a:cubicBezTo>
                        <a:pt x="9" y="133"/>
                        <a:pt x="0" y="124"/>
                        <a:pt x="0" y="113"/>
                      </a:cubicBezTo>
                      <a:cubicBezTo>
                        <a:pt x="0" y="20"/>
                        <a:pt x="0" y="20"/>
                        <a:pt x="0" y="20"/>
                      </a:cubicBezTo>
                      <a:cubicBezTo>
                        <a:pt x="0" y="9"/>
                        <a:pt x="9" y="0"/>
                        <a:pt x="20" y="0"/>
                      </a:cubicBezTo>
                      <a:cubicBezTo>
                        <a:pt x="116" y="0"/>
                        <a:pt x="116" y="0"/>
                        <a:pt x="116" y="0"/>
                      </a:cubicBezTo>
                      <a:cubicBezTo>
                        <a:pt x="128" y="0"/>
                        <a:pt x="137" y="9"/>
                        <a:pt x="137" y="20"/>
                      </a:cubicBezTo>
                      <a:cubicBezTo>
                        <a:pt x="137" y="113"/>
                        <a:pt x="137" y="113"/>
                        <a:pt x="137" y="113"/>
                      </a:cubicBezTo>
                      <a:cubicBezTo>
                        <a:pt x="137" y="124"/>
                        <a:pt x="128" y="133"/>
                        <a:pt x="116" y="133"/>
                      </a:cubicBezTo>
                      <a:close/>
                      <a:moveTo>
                        <a:pt x="20" y="4"/>
                      </a:moveTo>
                      <a:cubicBezTo>
                        <a:pt x="11" y="4"/>
                        <a:pt x="4" y="11"/>
                        <a:pt x="4" y="20"/>
                      </a:cubicBezTo>
                      <a:cubicBezTo>
                        <a:pt x="4" y="113"/>
                        <a:pt x="4" y="113"/>
                        <a:pt x="4" y="113"/>
                      </a:cubicBezTo>
                      <a:cubicBezTo>
                        <a:pt x="4" y="122"/>
                        <a:pt x="11" y="129"/>
                        <a:pt x="20" y="129"/>
                      </a:cubicBezTo>
                      <a:cubicBezTo>
                        <a:pt x="116" y="129"/>
                        <a:pt x="116" y="129"/>
                        <a:pt x="116" y="129"/>
                      </a:cubicBezTo>
                      <a:cubicBezTo>
                        <a:pt x="125" y="129"/>
                        <a:pt x="133" y="122"/>
                        <a:pt x="133" y="113"/>
                      </a:cubicBezTo>
                      <a:cubicBezTo>
                        <a:pt x="133" y="20"/>
                        <a:pt x="133" y="20"/>
                        <a:pt x="133" y="20"/>
                      </a:cubicBezTo>
                      <a:cubicBezTo>
                        <a:pt x="133" y="11"/>
                        <a:pt x="125" y="4"/>
                        <a:pt x="116" y="4"/>
                      </a:cubicBezTo>
                      <a:lnTo>
                        <a:pt x="20" y="4"/>
                      </a:lnTo>
                      <a:close/>
                    </a:path>
                  </a:pathLst>
                </a:custGeom>
                <a:solidFill>
                  <a:srgbClr val="529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9" name="Freeform 7">
                  <a:extLst>
                    <a:ext uri="{FF2B5EF4-FFF2-40B4-BE49-F238E27FC236}">
                      <a16:creationId xmlns:a16="http://schemas.microsoft.com/office/drawing/2014/main" id="{5075BF0E-1FBE-754D-949C-CBCCCC612E80}"/>
                    </a:ext>
                  </a:extLst>
                </p:cNvPr>
                <p:cNvSpPr>
                  <a:spLocks/>
                </p:cNvSpPr>
                <p:nvPr/>
              </p:nvSpPr>
              <p:spPr bwMode="auto">
                <a:xfrm>
                  <a:off x="4156663" y="2209104"/>
                  <a:ext cx="218621" cy="245950"/>
                </a:xfrm>
                <a:custGeom>
                  <a:avLst/>
                  <a:gdLst>
                    <a:gd name="T0" fmla="*/ 52 w 52"/>
                    <a:gd name="T1" fmla="*/ 21 h 59"/>
                    <a:gd name="T2" fmla="*/ 52 w 52"/>
                    <a:gd name="T3" fmla="*/ 59 h 59"/>
                    <a:gd name="T4" fmla="*/ 20 w 52"/>
                    <a:gd name="T5" fmla="*/ 59 h 59"/>
                    <a:gd name="T6" fmla="*/ 0 w 52"/>
                    <a:gd name="T7" fmla="*/ 38 h 59"/>
                    <a:gd name="T8" fmla="*/ 0 w 52"/>
                    <a:gd name="T9" fmla="*/ 0 h 59"/>
                    <a:gd name="T10" fmla="*/ 31 w 52"/>
                    <a:gd name="T11" fmla="*/ 0 h 59"/>
                    <a:gd name="T12" fmla="*/ 52 w 52"/>
                    <a:gd name="T13" fmla="*/ 21 h 59"/>
                  </a:gdLst>
                  <a:ahLst/>
                  <a:cxnLst>
                    <a:cxn ang="0">
                      <a:pos x="T0" y="T1"/>
                    </a:cxn>
                    <a:cxn ang="0">
                      <a:pos x="T2" y="T3"/>
                    </a:cxn>
                    <a:cxn ang="0">
                      <a:pos x="T4" y="T5"/>
                    </a:cxn>
                    <a:cxn ang="0">
                      <a:pos x="T6" y="T7"/>
                    </a:cxn>
                    <a:cxn ang="0">
                      <a:pos x="T8" y="T9"/>
                    </a:cxn>
                    <a:cxn ang="0">
                      <a:pos x="T10" y="T11"/>
                    </a:cxn>
                    <a:cxn ang="0">
                      <a:pos x="T12" y="T13"/>
                    </a:cxn>
                  </a:cxnLst>
                  <a:rect l="0" t="0" r="r" b="b"/>
                  <a:pathLst>
                    <a:path w="52" h="59">
                      <a:moveTo>
                        <a:pt x="52" y="21"/>
                      </a:moveTo>
                      <a:cubicBezTo>
                        <a:pt x="52" y="59"/>
                        <a:pt x="52" y="59"/>
                        <a:pt x="52" y="59"/>
                      </a:cubicBezTo>
                      <a:cubicBezTo>
                        <a:pt x="20" y="59"/>
                        <a:pt x="20" y="59"/>
                        <a:pt x="20" y="59"/>
                      </a:cubicBezTo>
                      <a:cubicBezTo>
                        <a:pt x="9" y="59"/>
                        <a:pt x="0" y="50"/>
                        <a:pt x="0" y="38"/>
                      </a:cubicBezTo>
                      <a:cubicBezTo>
                        <a:pt x="0" y="0"/>
                        <a:pt x="0" y="0"/>
                        <a:pt x="0" y="0"/>
                      </a:cubicBezTo>
                      <a:cubicBezTo>
                        <a:pt x="31" y="0"/>
                        <a:pt x="31" y="0"/>
                        <a:pt x="31" y="0"/>
                      </a:cubicBezTo>
                      <a:cubicBezTo>
                        <a:pt x="43" y="0"/>
                        <a:pt x="52" y="9"/>
                        <a:pt x="52" y="21"/>
                      </a:cubicBezTo>
                      <a:close/>
                    </a:path>
                  </a:pathLst>
                </a:custGeom>
                <a:solidFill>
                  <a:srgbClr val="02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10" name="Freeform 8">
                  <a:extLst>
                    <a:ext uri="{FF2B5EF4-FFF2-40B4-BE49-F238E27FC236}">
                      <a16:creationId xmlns:a16="http://schemas.microsoft.com/office/drawing/2014/main" id="{D306F946-C0C5-8145-831D-416BC71FC34F}"/>
                    </a:ext>
                  </a:extLst>
                </p:cNvPr>
                <p:cNvSpPr>
                  <a:spLocks/>
                </p:cNvSpPr>
                <p:nvPr/>
              </p:nvSpPr>
              <p:spPr bwMode="auto">
                <a:xfrm>
                  <a:off x="3761930" y="2209104"/>
                  <a:ext cx="613354" cy="595136"/>
                </a:xfrm>
                <a:custGeom>
                  <a:avLst/>
                  <a:gdLst>
                    <a:gd name="T0" fmla="*/ 68 w 147"/>
                    <a:gd name="T1" fmla="*/ 101 h 143"/>
                    <a:gd name="T2" fmla="*/ 147 w 147"/>
                    <a:gd name="T3" fmla="*/ 101 h 143"/>
                    <a:gd name="T4" fmla="*/ 147 w 147"/>
                    <a:gd name="T5" fmla="*/ 123 h 143"/>
                    <a:gd name="T6" fmla="*/ 126 w 147"/>
                    <a:gd name="T7" fmla="*/ 143 h 143"/>
                    <a:gd name="T8" fmla="*/ 20 w 147"/>
                    <a:gd name="T9" fmla="*/ 143 h 143"/>
                    <a:gd name="T10" fmla="*/ 0 w 147"/>
                    <a:gd name="T11" fmla="*/ 123 h 143"/>
                    <a:gd name="T12" fmla="*/ 0 w 147"/>
                    <a:gd name="T13" fmla="*/ 21 h 143"/>
                    <a:gd name="T14" fmla="*/ 20 w 147"/>
                    <a:gd name="T15" fmla="*/ 0 h 143"/>
                    <a:gd name="T16" fmla="*/ 47 w 147"/>
                    <a:gd name="T17" fmla="*/ 0 h 143"/>
                    <a:gd name="T18" fmla="*/ 47 w 147"/>
                    <a:gd name="T19" fmla="*/ 80 h 143"/>
                    <a:gd name="T20" fmla="*/ 68 w 147"/>
                    <a:gd name="T21" fmla="*/ 10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3">
                      <a:moveTo>
                        <a:pt x="68" y="101"/>
                      </a:moveTo>
                      <a:cubicBezTo>
                        <a:pt x="147" y="101"/>
                        <a:pt x="147" y="101"/>
                        <a:pt x="147" y="101"/>
                      </a:cubicBezTo>
                      <a:cubicBezTo>
                        <a:pt x="147" y="123"/>
                        <a:pt x="147" y="123"/>
                        <a:pt x="147" y="123"/>
                      </a:cubicBezTo>
                      <a:cubicBezTo>
                        <a:pt x="147" y="134"/>
                        <a:pt x="138" y="143"/>
                        <a:pt x="126" y="143"/>
                      </a:cubicBezTo>
                      <a:cubicBezTo>
                        <a:pt x="20" y="143"/>
                        <a:pt x="20" y="143"/>
                        <a:pt x="20" y="143"/>
                      </a:cubicBezTo>
                      <a:cubicBezTo>
                        <a:pt x="9" y="143"/>
                        <a:pt x="0" y="134"/>
                        <a:pt x="0" y="123"/>
                      </a:cubicBezTo>
                      <a:cubicBezTo>
                        <a:pt x="0" y="21"/>
                        <a:pt x="0" y="21"/>
                        <a:pt x="0" y="21"/>
                      </a:cubicBezTo>
                      <a:cubicBezTo>
                        <a:pt x="0" y="9"/>
                        <a:pt x="9" y="0"/>
                        <a:pt x="20" y="0"/>
                      </a:cubicBezTo>
                      <a:cubicBezTo>
                        <a:pt x="47" y="0"/>
                        <a:pt x="47" y="0"/>
                        <a:pt x="47" y="0"/>
                      </a:cubicBezTo>
                      <a:cubicBezTo>
                        <a:pt x="47" y="80"/>
                        <a:pt x="47" y="80"/>
                        <a:pt x="47" y="80"/>
                      </a:cubicBezTo>
                      <a:cubicBezTo>
                        <a:pt x="47" y="92"/>
                        <a:pt x="57" y="101"/>
                        <a:pt x="68" y="101"/>
                      </a:cubicBezTo>
                      <a:close/>
                    </a:path>
                  </a:pathLst>
                </a:custGeom>
                <a:solidFill>
                  <a:srgbClr val="02BCEB"/>
                </a:solidFill>
                <a:ln w="6350">
                  <a:solidFill>
                    <a:srgbClr val="00BCEB"/>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11" name="Freeform: Shape 75">
                  <a:extLst>
                    <a:ext uri="{FF2B5EF4-FFF2-40B4-BE49-F238E27FC236}">
                      <a16:creationId xmlns:a16="http://schemas.microsoft.com/office/drawing/2014/main" id="{326D2243-86C0-9647-9BB9-0031E1473E10}"/>
                    </a:ext>
                  </a:extLst>
                </p:cNvPr>
                <p:cNvSpPr>
                  <a:spLocks/>
                </p:cNvSpPr>
                <p:nvPr/>
              </p:nvSpPr>
              <p:spPr bwMode="auto">
                <a:xfrm>
                  <a:off x="3959296" y="2032993"/>
                  <a:ext cx="610319" cy="595137"/>
                </a:xfrm>
                <a:custGeom>
                  <a:avLst/>
                  <a:gdLst>
                    <a:gd name="connsiteX0" fmla="*/ 86348 w 610319"/>
                    <a:gd name="connsiteY0" fmla="*/ 0 h 595137"/>
                    <a:gd name="connsiteX1" fmla="*/ 197367 w 610319"/>
                    <a:gd name="connsiteY1" fmla="*/ 0 h 595137"/>
                    <a:gd name="connsiteX2" fmla="*/ 197367 w 610319"/>
                    <a:gd name="connsiteY2" fmla="*/ 173360 h 595137"/>
                    <a:gd name="connsiteX3" fmla="*/ 197367 w 610319"/>
                    <a:gd name="connsiteY3" fmla="*/ 176111 h 595137"/>
                    <a:gd name="connsiteX4" fmla="*/ 199675 w 610319"/>
                    <a:gd name="connsiteY4" fmla="*/ 176111 h 595137"/>
                    <a:gd name="connsiteX5" fmla="*/ 199675 w 610319"/>
                    <a:gd name="connsiteY5" fmla="*/ 333763 h 595137"/>
                    <a:gd name="connsiteX6" fmla="*/ 282872 w 610319"/>
                    <a:gd name="connsiteY6" fmla="*/ 420887 h 595137"/>
                    <a:gd name="connsiteX7" fmla="*/ 415989 w 610319"/>
                    <a:gd name="connsiteY7" fmla="*/ 420887 h 595137"/>
                    <a:gd name="connsiteX8" fmla="*/ 415989 w 610319"/>
                    <a:gd name="connsiteY8" fmla="*/ 422061 h 595137"/>
                    <a:gd name="connsiteX9" fmla="*/ 610319 w 610319"/>
                    <a:gd name="connsiteY9" fmla="*/ 422061 h 595137"/>
                    <a:gd name="connsiteX10" fmla="*/ 610319 w 610319"/>
                    <a:gd name="connsiteY10" fmla="*/ 508599 h 595137"/>
                    <a:gd name="connsiteX11" fmla="*/ 527626 w 610319"/>
                    <a:gd name="connsiteY11" fmla="*/ 595137 h 595137"/>
                    <a:gd name="connsiteX12" fmla="*/ 415989 w 610319"/>
                    <a:gd name="connsiteY12" fmla="*/ 595137 h 595137"/>
                    <a:gd name="connsiteX13" fmla="*/ 415989 w 610319"/>
                    <a:gd name="connsiteY13" fmla="*/ 595135 h 595137"/>
                    <a:gd name="connsiteX14" fmla="*/ 87358 w 610319"/>
                    <a:gd name="connsiteY14" fmla="*/ 595135 h 595137"/>
                    <a:gd name="connsiteX15" fmla="*/ 0 w 610319"/>
                    <a:gd name="connsiteY15" fmla="*/ 508011 h 595137"/>
                    <a:gd name="connsiteX16" fmla="*/ 0 w 610319"/>
                    <a:gd name="connsiteY16" fmla="*/ 176759 h 595137"/>
                    <a:gd name="connsiteX17" fmla="*/ 0 w 610319"/>
                    <a:gd name="connsiteY17" fmla="*/ 176112 h 595137"/>
                    <a:gd name="connsiteX18" fmla="*/ 0 w 610319"/>
                    <a:gd name="connsiteY18" fmla="*/ 176111 h 595137"/>
                    <a:gd name="connsiteX19" fmla="*/ 0 w 610319"/>
                    <a:gd name="connsiteY19" fmla="*/ 145662 h 595137"/>
                    <a:gd name="connsiteX20" fmla="*/ 0 w 610319"/>
                    <a:gd name="connsiteY20" fmla="*/ 83863 h 595137"/>
                    <a:gd name="connsiteX21" fmla="*/ 86348 w 610319"/>
                    <a:gd name="connsiteY21" fmla="*/ 0 h 59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0319" h="595137">
                      <a:moveTo>
                        <a:pt x="86348" y="0"/>
                      </a:moveTo>
                      <a:cubicBezTo>
                        <a:pt x="197367" y="0"/>
                        <a:pt x="197367" y="0"/>
                        <a:pt x="197367" y="0"/>
                      </a:cubicBezTo>
                      <a:cubicBezTo>
                        <a:pt x="197367" y="132084"/>
                        <a:pt x="197367" y="165105"/>
                        <a:pt x="197367" y="173360"/>
                      </a:cubicBezTo>
                      <a:lnTo>
                        <a:pt x="197367" y="176111"/>
                      </a:lnTo>
                      <a:lnTo>
                        <a:pt x="199675" y="176111"/>
                      </a:lnTo>
                      <a:cubicBezTo>
                        <a:pt x="199675" y="333763"/>
                        <a:pt x="199675" y="333763"/>
                        <a:pt x="199675" y="333763"/>
                      </a:cubicBezTo>
                      <a:cubicBezTo>
                        <a:pt x="199675" y="383548"/>
                        <a:pt x="237113" y="420887"/>
                        <a:pt x="282872" y="420887"/>
                      </a:cubicBezTo>
                      <a:lnTo>
                        <a:pt x="415989" y="420887"/>
                      </a:lnTo>
                      <a:lnTo>
                        <a:pt x="415989" y="422061"/>
                      </a:lnTo>
                      <a:lnTo>
                        <a:pt x="610319" y="422061"/>
                      </a:lnTo>
                      <a:cubicBezTo>
                        <a:pt x="610319" y="508599"/>
                        <a:pt x="610319" y="508599"/>
                        <a:pt x="610319" y="508599"/>
                      </a:cubicBezTo>
                      <a:cubicBezTo>
                        <a:pt x="610319" y="558049"/>
                        <a:pt x="573107" y="595137"/>
                        <a:pt x="527626" y="595137"/>
                      </a:cubicBezTo>
                      <a:cubicBezTo>
                        <a:pt x="415989" y="595137"/>
                        <a:pt x="415989" y="595137"/>
                        <a:pt x="415989" y="595137"/>
                      </a:cubicBezTo>
                      <a:lnTo>
                        <a:pt x="415989" y="595135"/>
                      </a:lnTo>
                      <a:cubicBezTo>
                        <a:pt x="87358" y="595135"/>
                        <a:pt x="87358" y="595135"/>
                        <a:pt x="87358" y="595135"/>
                      </a:cubicBezTo>
                      <a:cubicBezTo>
                        <a:pt x="41599" y="595135"/>
                        <a:pt x="0" y="557796"/>
                        <a:pt x="0" y="508011"/>
                      </a:cubicBezTo>
                      <a:cubicBezTo>
                        <a:pt x="0" y="217598"/>
                        <a:pt x="0" y="181297"/>
                        <a:pt x="0" y="176759"/>
                      </a:cubicBezTo>
                      <a:lnTo>
                        <a:pt x="0" y="176112"/>
                      </a:lnTo>
                      <a:lnTo>
                        <a:pt x="0" y="176111"/>
                      </a:lnTo>
                      <a:lnTo>
                        <a:pt x="0" y="145662"/>
                      </a:lnTo>
                      <a:cubicBezTo>
                        <a:pt x="0" y="83863"/>
                        <a:pt x="0" y="83863"/>
                        <a:pt x="0" y="83863"/>
                      </a:cubicBezTo>
                      <a:cubicBezTo>
                        <a:pt x="0" y="37738"/>
                        <a:pt x="41118" y="0"/>
                        <a:pt x="86348" y="0"/>
                      </a:cubicBezTo>
                      <a:close/>
                    </a:path>
                  </a:pathLst>
                </a:custGeom>
                <a:solidFill>
                  <a:srgbClr val="0D274D"/>
                </a:solidFill>
                <a:ln w="6350">
                  <a:solidFill>
                    <a:srgbClr val="0D274D"/>
                  </a:solidFill>
                  <a:round/>
                  <a:headEnd/>
                  <a:tailEnd/>
                </a:ln>
              </p:spPr>
              <p:txBody>
                <a:bodyPr vert="horz" wrap="square" lIns="91440" tIns="45720" rIns="91440" bIns="45720" numCol="1" anchor="t" anchorCtr="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12" name="Freeform 13">
                  <a:extLst>
                    <a:ext uri="{FF2B5EF4-FFF2-40B4-BE49-F238E27FC236}">
                      <a16:creationId xmlns:a16="http://schemas.microsoft.com/office/drawing/2014/main" id="{10BCFDED-5BBE-204A-B01E-C203A19027A5}"/>
                    </a:ext>
                  </a:extLst>
                </p:cNvPr>
                <p:cNvSpPr>
                  <a:spLocks/>
                </p:cNvSpPr>
                <p:nvPr/>
              </p:nvSpPr>
              <p:spPr bwMode="auto">
                <a:xfrm>
                  <a:off x="4156663" y="1859919"/>
                  <a:ext cx="613354" cy="595136"/>
                </a:xfrm>
                <a:custGeom>
                  <a:avLst/>
                  <a:gdLst>
                    <a:gd name="T0" fmla="*/ 147 w 147"/>
                    <a:gd name="T1" fmla="*/ 20 h 143"/>
                    <a:gd name="T2" fmla="*/ 147 w 147"/>
                    <a:gd name="T3" fmla="*/ 122 h 143"/>
                    <a:gd name="T4" fmla="*/ 127 w 147"/>
                    <a:gd name="T5" fmla="*/ 143 h 143"/>
                    <a:gd name="T6" fmla="*/ 99 w 147"/>
                    <a:gd name="T7" fmla="*/ 143 h 143"/>
                    <a:gd name="T8" fmla="*/ 99 w 147"/>
                    <a:gd name="T9" fmla="*/ 62 h 143"/>
                    <a:gd name="T10" fmla="*/ 79 w 147"/>
                    <a:gd name="T11" fmla="*/ 42 h 143"/>
                    <a:gd name="T12" fmla="*/ 0 w 147"/>
                    <a:gd name="T13" fmla="*/ 42 h 143"/>
                    <a:gd name="T14" fmla="*/ 0 w 147"/>
                    <a:gd name="T15" fmla="*/ 20 h 143"/>
                    <a:gd name="T16" fmla="*/ 20 w 147"/>
                    <a:gd name="T17" fmla="*/ 0 h 143"/>
                    <a:gd name="T18" fmla="*/ 127 w 147"/>
                    <a:gd name="T19" fmla="*/ 0 h 143"/>
                    <a:gd name="T20" fmla="*/ 147 w 147"/>
                    <a:gd name="T21" fmla="*/ 2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3">
                      <a:moveTo>
                        <a:pt x="147" y="20"/>
                      </a:moveTo>
                      <a:cubicBezTo>
                        <a:pt x="147" y="122"/>
                        <a:pt x="147" y="122"/>
                        <a:pt x="147" y="122"/>
                      </a:cubicBezTo>
                      <a:cubicBezTo>
                        <a:pt x="147" y="134"/>
                        <a:pt x="138" y="143"/>
                        <a:pt x="127" y="143"/>
                      </a:cubicBezTo>
                      <a:cubicBezTo>
                        <a:pt x="99" y="143"/>
                        <a:pt x="99" y="143"/>
                        <a:pt x="99" y="143"/>
                      </a:cubicBezTo>
                      <a:cubicBezTo>
                        <a:pt x="99" y="62"/>
                        <a:pt x="99" y="62"/>
                        <a:pt x="99" y="62"/>
                      </a:cubicBezTo>
                      <a:cubicBezTo>
                        <a:pt x="99" y="51"/>
                        <a:pt x="90" y="42"/>
                        <a:pt x="79" y="42"/>
                      </a:cubicBezTo>
                      <a:cubicBezTo>
                        <a:pt x="0" y="42"/>
                        <a:pt x="0" y="42"/>
                        <a:pt x="0" y="42"/>
                      </a:cubicBezTo>
                      <a:cubicBezTo>
                        <a:pt x="0" y="20"/>
                        <a:pt x="0" y="20"/>
                        <a:pt x="0" y="20"/>
                      </a:cubicBezTo>
                      <a:cubicBezTo>
                        <a:pt x="0" y="9"/>
                        <a:pt x="9" y="0"/>
                        <a:pt x="20" y="0"/>
                      </a:cubicBezTo>
                      <a:cubicBezTo>
                        <a:pt x="127" y="0"/>
                        <a:pt x="127" y="0"/>
                        <a:pt x="127" y="0"/>
                      </a:cubicBezTo>
                      <a:cubicBezTo>
                        <a:pt x="138" y="0"/>
                        <a:pt x="147" y="9"/>
                        <a:pt x="147" y="20"/>
                      </a:cubicBezTo>
                      <a:close/>
                    </a:path>
                  </a:pathLst>
                </a:custGeom>
                <a:solidFill>
                  <a:srgbClr val="70BF49"/>
                </a:solidFill>
                <a:ln w="6350">
                  <a:solidFill>
                    <a:srgbClr val="6EBE4A"/>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13" name="Freeform 12">
                  <a:extLst>
                    <a:ext uri="{FF2B5EF4-FFF2-40B4-BE49-F238E27FC236}">
                      <a16:creationId xmlns:a16="http://schemas.microsoft.com/office/drawing/2014/main" id="{555012DA-B152-9445-A054-FCA84B90E519}"/>
                    </a:ext>
                  </a:extLst>
                </p:cNvPr>
                <p:cNvSpPr>
                  <a:spLocks/>
                </p:cNvSpPr>
                <p:nvPr/>
              </p:nvSpPr>
              <p:spPr bwMode="auto">
                <a:xfrm>
                  <a:off x="4156663" y="2032993"/>
                  <a:ext cx="412951" cy="422062"/>
                </a:xfrm>
                <a:custGeom>
                  <a:avLst/>
                  <a:gdLst>
                    <a:gd name="T0" fmla="*/ 99 w 99"/>
                    <a:gd name="T1" fmla="*/ 20 h 101"/>
                    <a:gd name="T2" fmla="*/ 99 w 99"/>
                    <a:gd name="T3" fmla="*/ 101 h 101"/>
                    <a:gd name="T4" fmla="*/ 20 w 99"/>
                    <a:gd name="T5" fmla="*/ 101 h 101"/>
                    <a:gd name="T6" fmla="*/ 0 w 99"/>
                    <a:gd name="T7" fmla="*/ 80 h 101"/>
                    <a:gd name="T8" fmla="*/ 0 w 99"/>
                    <a:gd name="T9" fmla="*/ 0 h 101"/>
                    <a:gd name="T10" fmla="*/ 79 w 99"/>
                    <a:gd name="T11" fmla="*/ 0 h 101"/>
                    <a:gd name="T12" fmla="*/ 99 w 99"/>
                    <a:gd name="T13" fmla="*/ 20 h 101"/>
                  </a:gdLst>
                  <a:ahLst/>
                  <a:cxnLst>
                    <a:cxn ang="0">
                      <a:pos x="T0" y="T1"/>
                    </a:cxn>
                    <a:cxn ang="0">
                      <a:pos x="T2" y="T3"/>
                    </a:cxn>
                    <a:cxn ang="0">
                      <a:pos x="T4" y="T5"/>
                    </a:cxn>
                    <a:cxn ang="0">
                      <a:pos x="T6" y="T7"/>
                    </a:cxn>
                    <a:cxn ang="0">
                      <a:pos x="T8" y="T9"/>
                    </a:cxn>
                    <a:cxn ang="0">
                      <a:pos x="T10" y="T11"/>
                    </a:cxn>
                    <a:cxn ang="0">
                      <a:pos x="T12" y="T13"/>
                    </a:cxn>
                  </a:cxnLst>
                  <a:rect l="0" t="0" r="r" b="b"/>
                  <a:pathLst>
                    <a:path w="99" h="101">
                      <a:moveTo>
                        <a:pt x="99" y="20"/>
                      </a:moveTo>
                      <a:cubicBezTo>
                        <a:pt x="99" y="101"/>
                        <a:pt x="99" y="101"/>
                        <a:pt x="99" y="101"/>
                      </a:cubicBezTo>
                      <a:cubicBezTo>
                        <a:pt x="20" y="101"/>
                        <a:pt x="20" y="101"/>
                        <a:pt x="20" y="101"/>
                      </a:cubicBezTo>
                      <a:cubicBezTo>
                        <a:pt x="9" y="101"/>
                        <a:pt x="0" y="92"/>
                        <a:pt x="0" y="80"/>
                      </a:cubicBezTo>
                      <a:cubicBezTo>
                        <a:pt x="0" y="0"/>
                        <a:pt x="0" y="0"/>
                        <a:pt x="0" y="0"/>
                      </a:cubicBezTo>
                      <a:cubicBezTo>
                        <a:pt x="79" y="0"/>
                        <a:pt x="79" y="0"/>
                        <a:pt x="79" y="0"/>
                      </a:cubicBezTo>
                      <a:cubicBezTo>
                        <a:pt x="90" y="0"/>
                        <a:pt x="99" y="9"/>
                        <a:pt x="99" y="20"/>
                      </a:cubicBezTo>
                      <a:close/>
                    </a:path>
                  </a:pathLst>
                </a:custGeom>
                <a:solidFill>
                  <a:srgbClr val="529141"/>
                </a:solidFill>
                <a:ln w="6350">
                  <a:solidFill>
                    <a:srgbClr val="529141"/>
                  </a:solid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pic>
            <p:nvPicPr>
              <p:cNvPr id="25" name="Graphic 24">
                <a:extLst>
                  <a:ext uri="{FF2B5EF4-FFF2-40B4-BE49-F238E27FC236}">
                    <a16:creationId xmlns:a16="http://schemas.microsoft.com/office/drawing/2014/main" id="{02EF22B8-AF7C-9642-8864-D06FE8E9B76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38450" y="1268322"/>
                <a:ext cx="489203" cy="489203"/>
              </a:xfrm>
              <a:prstGeom prst="rect">
                <a:avLst/>
              </a:prstGeom>
            </p:spPr>
          </p:pic>
          <p:sp>
            <p:nvSpPr>
              <p:cNvPr id="26" name="Rectangle 25">
                <a:extLst>
                  <a:ext uri="{FF2B5EF4-FFF2-40B4-BE49-F238E27FC236}">
                    <a16:creationId xmlns:a16="http://schemas.microsoft.com/office/drawing/2014/main" id="{8AF232FC-2E51-874F-80FF-0809555FE051}"/>
                  </a:ext>
                </a:extLst>
              </p:cNvPr>
              <p:cNvSpPr/>
              <p:nvPr/>
            </p:nvSpPr>
            <p:spPr>
              <a:xfrm>
                <a:off x="5865462" y="743942"/>
                <a:ext cx="614051" cy="183387"/>
              </a:xfrm>
              <a:prstGeom prst="rect">
                <a:avLst/>
              </a:prstGeom>
            </p:spPr>
            <p:txBody>
              <a:bodyPr wrap="square" lIns="0" tIns="0" rIns="0" bIns="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j-lt"/>
                    <a:ea typeface="ＭＳ Ｐゴシック" charset="0"/>
                  </a:rPr>
                  <a:t>Identity</a:t>
                </a:r>
              </a:p>
            </p:txBody>
          </p:sp>
          <p:sp>
            <p:nvSpPr>
              <p:cNvPr id="27" name="Rectangle 26">
                <a:extLst>
                  <a:ext uri="{FF2B5EF4-FFF2-40B4-BE49-F238E27FC236}">
                    <a16:creationId xmlns:a16="http://schemas.microsoft.com/office/drawing/2014/main" id="{69A5E220-614D-C64A-B380-10D87EEEE838}"/>
                  </a:ext>
                </a:extLst>
              </p:cNvPr>
              <p:cNvSpPr/>
              <p:nvPr/>
            </p:nvSpPr>
            <p:spPr>
              <a:xfrm>
                <a:off x="5865462" y="3705771"/>
                <a:ext cx="614051" cy="183387"/>
              </a:xfrm>
              <a:prstGeom prst="rect">
                <a:avLst/>
              </a:prstGeom>
            </p:spPr>
            <p:txBody>
              <a:bodyPr wrap="square" lIns="0" tIns="0" rIns="0" bIns="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chemeClr val="bg1"/>
                    </a:solidFill>
                    <a:effectLst/>
                    <a:uLnTx/>
                    <a:uFillTx/>
                    <a:latin typeface="+mj-lt"/>
                    <a:ea typeface="ＭＳ Ｐゴシック" charset="0"/>
                  </a:rPr>
                  <a:t>Risk</a:t>
                </a:r>
              </a:p>
            </p:txBody>
          </p:sp>
          <p:sp>
            <p:nvSpPr>
              <p:cNvPr id="28" name="Isosceles Triangle 49">
                <a:extLst>
                  <a:ext uri="{FF2B5EF4-FFF2-40B4-BE49-F238E27FC236}">
                    <a16:creationId xmlns:a16="http://schemas.microsoft.com/office/drawing/2014/main" id="{B4C0841C-20F5-0F42-821C-3DA480B21EB7}"/>
                  </a:ext>
                </a:extLst>
              </p:cNvPr>
              <p:cNvSpPr/>
              <p:nvPr/>
            </p:nvSpPr>
            <p:spPr>
              <a:xfrm rot="14969654">
                <a:off x="5494023" y="702924"/>
                <a:ext cx="273980" cy="21750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FFFFFF"/>
              </a:solidFill>
              <a:ln w="19050" cap="rnd" cmpd="sng" algn="ctr">
                <a:solidFill>
                  <a:srgbClr val="0D27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29" name="Isosceles Triangle 49">
                <a:extLst>
                  <a:ext uri="{FF2B5EF4-FFF2-40B4-BE49-F238E27FC236}">
                    <a16:creationId xmlns:a16="http://schemas.microsoft.com/office/drawing/2014/main" id="{3101995A-D82C-5649-8EBC-A8E3036D7DFD}"/>
                  </a:ext>
                </a:extLst>
              </p:cNvPr>
              <p:cNvSpPr/>
              <p:nvPr/>
            </p:nvSpPr>
            <p:spPr>
              <a:xfrm rot="3600000">
                <a:off x="6651568" y="3735678"/>
                <a:ext cx="273980" cy="21750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FFFFFF"/>
              </a:solidFill>
              <a:ln w="19050" cap="rnd" cmpd="sng" algn="ctr">
                <a:solidFill>
                  <a:srgbClr val="0D27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30" name="Rectangle 29">
                <a:extLst>
                  <a:ext uri="{FF2B5EF4-FFF2-40B4-BE49-F238E27FC236}">
                    <a16:creationId xmlns:a16="http://schemas.microsoft.com/office/drawing/2014/main" id="{9130257B-3714-EA48-A0A9-C68A8703EE7D}"/>
                  </a:ext>
                </a:extLst>
              </p:cNvPr>
              <p:cNvSpPr/>
              <p:nvPr/>
            </p:nvSpPr>
            <p:spPr>
              <a:xfrm>
                <a:off x="6746733" y="2441656"/>
                <a:ext cx="309864" cy="128372"/>
              </a:xfrm>
              <a:prstGeom prst="rect">
                <a:avLst/>
              </a:prstGeom>
            </p:spPr>
            <p:txBody>
              <a:bodyPr wrap="squar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mj-lt"/>
                  </a:rPr>
                  <a:t>Cloud</a:t>
                </a:r>
              </a:p>
            </p:txBody>
          </p:sp>
          <p:sp>
            <p:nvSpPr>
              <p:cNvPr id="31" name="Freeform: Shape 105">
                <a:extLst>
                  <a:ext uri="{FF2B5EF4-FFF2-40B4-BE49-F238E27FC236}">
                    <a16:creationId xmlns:a16="http://schemas.microsoft.com/office/drawing/2014/main" id="{2962EE37-6842-3040-BB0B-4A7FBC3B7DDF}"/>
                  </a:ext>
                </a:extLst>
              </p:cNvPr>
              <p:cNvSpPr/>
              <p:nvPr/>
            </p:nvSpPr>
            <p:spPr>
              <a:xfrm rot="16200000" flipH="1">
                <a:off x="5037919" y="1906404"/>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rgbClr val="9E9EA2">
                  <a:alpha val="60000"/>
                </a:srgbClr>
              </a:solidFill>
              <a:ln w="127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32" name="Rectangle 31">
                <a:extLst>
                  <a:ext uri="{FF2B5EF4-FFF2-40B4-BE49-F238E27FC236}">
                    <a16:creationId xmlns:a16="http://schemas.microsoft.com/office/drawing/2014/main" id="{5BC9078A-7F29-D24F-94BB-3C418F5B076A}"/>
                  </a:ext>
                </a:extLst>
              </p:cNvPr>
              <p:cNvSpPr/>
              <p:nvPr/>
            </p:nvSpPr>
            <p:spPr>
              <a:xfrm>
                <a:off x="5240883" y="2441656"/>
                <a:ext cx="403949" cy="128372"/>
              </a:xfrm>
              <a:prstGeom prst="rect">
                <a:avLst/>
              </a:prstGeom>
            </p:spPr>
            <p:txBody>
              <a:bodyPr wrap="none" lIns="0" tIns="0" rIns="0" bIns="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schemeClr val="bg1"/>
                    </a:solidFill>
                    <a:effectLst/>
                    <a:uLnTx/>
                    <a:uFillTx/>
                    <a:latin typeface="+mj-lt"/>
                  </a:rPr>
                  <a:t>Network</a:t>
                </a:r>
              </a:p>
            </p:txBody>
          </p:sp>
          <p:sp>
            <p:nvSpPr>
              <p:cNvPr id="33" name="Freeform: Shape 120">
                <a:extLst>
                  <a:ext uri="{FF2B5EF4-FFF2-40B4-BE49-F238E27FC236}">
                    <a16:creationId xmlns:a16="http://schemas.microsoft.com/office/drawing/2014/main" id="{725B1C72-C715-4E49-8864-3A60D262B23A}"/>
                  </a:ext>
                </a:extLst>
              </p:cNvPr>
              <p:cNvSpPr/>
              <p:nvPr/>
            </p:nvSpPr>
            <p:spPr>
              <a:xfrm>
                <a:off x="5545239" y="2199410"/>
                <a:ext cx="190391" cy="2863"/>
              </a:xfrm>
              <a:custGeom>
                <a:avLst/>
                <a:gdLst>
                  <a:gd name="connsiteX0" fmla="*/ 0 w 190391"/>
                  <a:gd name="connsiteY0" fmla="*/ 0 h 2863"/>
                  <a:gd name="connsiteX1" fmla="*/ 190391 w 190391"/>
                  <a:gd name="connsiteY1" fmla="*/ 0 h 2863"/>
                  <a:gd name="connsiteX2" fmla="*/ 190391 w 190391"/>
                  <a:gd name="connsiteY2" fmla="*/ 2863 h 2863"/>
                  <a:gd name="connsiteX3" fmla="*/ 0 w 190391"/>
                  <a:gd name="connsiteY3" fmla="*/ 2863 h 2863"/>
                </a:gdLst>
                <a:ahLst/>
                <a:cxnLst>
                  <a:cxn ang="0">
                    <a:pos x="connsiteX0" y="connsiteY0"/>
                  </a:cxn>
                  <a:cxn ang="0">
                    <a:pos x="connsiteX1" y="connsiteY1"/>
                  </a:cxn>
                  <a:cxn ang="0">
                    <a:pos x="connsiteX2" y="connsiteY2"/>
                  </a:cxn>
                  <a:cxn ang="0">
                    <a:pos x="connsiteX3" y="connsiteY3"/>
                  </a:cxn>
                </a:cxnLst>
                <a:rect l="l" t="t" r="r" b="b"/>
                <a:pathLst>
                  <a:path w="190391" h="2863">
                    <a:moveTo>
                      <a:pt x="0" y="0"/>
                    </a:moveTo>
                    <a:lnTo>
                      <a:pt x="190391" y="0"/>
                    </a:lnTo>
                    <a:lnTo>
                      <a:pt x="190391" y="2863"/>
                    </a:lnTo>
                    <a:lnTo>
                      <a:pt x="0" y="2863"/>
                    </a:lnTo>
                    <a:close/>
                  </a:path>
                </a:pathLst>
              </a:custGeom>
              <a:solidFill>
                <a:srgbClr val="0D274D"/>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nvGrpSpPr>
              <p:cNvPr id="34" name="Graphic 110">
                <a:extLst>
                  <a:ext uri="{FF2B5EF4-FFF2-40B4-BE49-F238E27FC236}">
                    <a16:creationId xmlns:a16="http://schemas.microsoft.com/office/drawing/2014/main" id="{DDCCFBE3-6D82-874D-82E1-8EA6CE0BEBA4}"/>
                  </a:ext>
                </a:extLst>
              </p:cNvPr>
              <p:cNvGrpSpPr/>
              <p:nvPr/>
            </p:nvGrpSpPr>
            <p:grpSpPr>
              <a:xfrm>
                <a:off x="5560930" y="2224902"/>
                <a:ext cx="129992" cy="52250"/>
                <a:chOff x="5586748" y="2224902"/>
                <a:chExt cx="129992" cy="52250"/>
              </a:xfrm>
              <a:solidFill>
                <a:srgbClr val="0D274D"/>
              </a:solidFill>
            </p:grpSpPr>
            <p:sp>
              <p:nvSpPr>
                <p:cNvPr id="103" name="Freeform: Shape 122">
                  <a:extLst>
                    <a:ext uri="{FF2B5EF4-FFF2-40B4-BE49-F238E27FC236}">
                      <a16:creationId xmlns:a16="http://schemas.microsoft.com/office/drawing/2014/main" id="{97363727-C607-6541-BA3C-F2C896898954}"/>
                    </a:ext>
                  </a:extLst>
                </p:cNvPr>
                <p:cNvSpPr/>
                <p:nvPr/>
              </p:nvSpPr>
              <p:spPr>
                <a:xfrm>
                  <a:off x="5586748" y="2224902"/>
                  <a:ext cx="129992" cy="2863"/>
                </a:xfrm>
                <a:custGeom>
                  <a:avLst/>
                  <a:gdLst>
                    <a:gd name="connsiteX0" fmla="*/ 0 w 129992"/>
                    <a:gd name="connsiteY0" fmla="*/ 0 h 2863"/>
                    <a:gd name="connsiteX1" fmla="*/ 129992 w 129992"/>
                    <a:gd name="connsiteY1" fmla="*/ 0 h 2863"/>
                    <a:gd name="connsiteX2" fmla="*/ 129992 w 129992"/>
                    <a:gd name="connsiteY2" fmla="*/ 2863 h 2863"/>
                    <a:gd name="connsiteX3" fmla="*/ 0 w 129992"/>
                    <a:gd name="connsiteY3" fmla="*/ 2863 h 2863"/>
                  </a:gdLst>
                  <a:ahLst/>
                  <a:cxnLst>
                    <a:cxn ang="0">
                      <a:pos x="connsiteX0" y="connsiteY0"/>
                    </a:cxn>
                    <a:cxn ang="0">
                      <a:pos x="connsiteX1" y="connsiteY1"/>
                    </a:cxn>
                    <a:cxn ang="0">
                      <a:pos x="connsiteX2" y="connsiteY2"/>
                    </a:cxn>
                    <a:cxn ang="0">
                      <a:pos x="connsiteX3" y="connsiteY3"/>
                    </a:cxn>
                  </a:cxnLst>
                  <a:rect l="l" t="t" r="r" b="b"/>
                  <a:pathLst>
                    <a:path w="129992" h="2863">
                      <a:moveTo>
                        <a:pt x="0" y="0"/>
                      </a:moveTo>
                      <a:lnTo>
                        <a:pt x="129992" y="0"/>
                      </a:lnTo>
                      <a:lnTo>
                        <a:pt x="129992"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nvGrpSpPr>
                <p:cNvPr id="104" name="Graphic 110">
                  <a:extLst>
                    <a:ext uri="{FF2B5EF4-FFF2-40B4-BE49-F238E27FC236}">
                      <a16:creationId xmlns:a16="http://schemas.microsoft.com/office/drawing/2014/main" id="{9A71C641-4BDA-4748-8C50-3D56703CD787}"/>
                    </a:ext>
                  </a:extLst>
                </p:cNvPr>
                <p:cNvGrpSpPr/>
                <p:nvPr/>
              </p:nvGrpSpPr>
              <p:grpSpPr>
                <a:xfrm>
                  <a:off x="5597980" y="2250394"/>
                  <a:ext cx="71135" cy="26758"/>
                  <a:chOff x="5597980" y="2250394"/>
                  <a:chExt cx="71135" cy="26758"/>
                </a:xfrm>
                <a:grpFill/>
              </p:grpSpPr>
              <p:sp>
                <p:nvSpPr>
                  <p:cNvPr id="105" name="Freeform: Shape 124">
                    <a:extLst>
                      <a:ext uri="{FF2B5EF4-FFF2-40B4-BE49-F238E27FC236}">
                        <a16:creationId xmlns:a16="http://schemas.microsoft.com/office/drawing/2014/main" id="{D42F8152-2F30-3642-AB2F-2ED81D8078D7}"/>
                      </a:ext>
                    </a:extLst>
                  </p:cNvPr>
                  <p:cNvSpPr/>
                  <p:nvPr/>
                </p:nvSpPr>
                <p:spPr>
                  <a:xfrm>
                    <a:off x="5597980" y="2250394"/>
                    <a:ext cx="71135" cy="2863"/>
                  </a:xfrm>
                  <a:custGeom>
                    <a:avLst/>
                    <a:gdLst>
                      <a:gd name="connsiteX0" fmla="*/ 0 w 71135"/>
                      <a:gd name="connsiteY0" fmla="*/ 0 h 2863"/>
                      <a:gd name="connsiteX1" fmla="*/ 71135 w 71135"/>
                      <a:gd name="connsiteY1" fmla="*/ 0 h 2863"/>
                      <a:gd name="connsiteX2" fmla="*/ 71135 w 71135"/>
                      <a:gd name="connsiteY2" fmla="*/ 2863 h 2863"/>
                      <a:gd name="connsiteX3" fmla="*/ 0 w 71135"/>
                      <a:gd name="connsiteY3" fmla="*/ 2863 h 2863"/>
                    </a:gdLst>
                    <a:ahLst/>
                    <a:cxnLst>
                      <a:cxn ang="0">
                        <a:pos x="connsiteX0" y="connsiteY0"/>
                      </a:cxn>
                      <a:cxn ang="0">
                        <a:pos x="connsiteX1" y="connsiteY1"/>
                      </a:cxn>
                      <a:cxn ang="0">
                        <a:pos x="connsiteX2" y="connsiteY2"/>
                      </a:cxn>
                      <a:cxn ang="0">
                        <a:pos x="connsiteX3" y="connsiteY3"/>
                      </a:cxn>
                    </a:cxnLst>
                    <a:rect l="l" t="t" r="r" b="b"/>
                    <a:pathLst>
                      <a:path w="71135" h="2863">
                        <a:moveTo>
                          <a:pt x="0" y="0"/>
                        </a:moveTo>
                        <a:lnTo>
                          <a:pt x="71135" y="0"/>
                        </a:lnTo>
                        <a:lnTo>
                          <a:pt x="71135"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6" name="Freeform: Shape 125">
                    <a:extLst>
                      <a:ext uri="{FF2B5EF4-FFF2-40B4-BE49-F238E27FC236}">
                        <a16:creationId xmlns:a16="http://schemas.microsoft.com/office/drawing/2014/main" id="{C0346115-78AA-6148-804A-ED59551364C3}"/>
                      </a:ext>
                    </a:extLst>
                  </p:cNvPr>
                  <p:cNvSpPr/>
                  <p:nvPr/>
                </p:nvSpPr>
                <p:spPr>
                  <a:xfrm>
                    <a:off x="5601504" y="2274289"/>
                    <a:ext cx="20151" cy="2863"/>
                  </a:xfrm>
                  <a:custGeom>
                    <a:avLst/>
                    <a:gdLst>
                      <a:gd name="connsiteX0" fmla="*/ 0 w 20151"/>
                      <a:gd name="connsiteY0" fmla="*/ 0 h 2863"/>
                      <a:gd name="connsiteX1" fmla="*/ 20151 w 20151"/>
                      <a:gd name="connsiteY1" fmla="*/ 0 h 2863"/>
                      <a:gd name="connsiteX2" fmla="*/ 20151 w 20151"/>
                      <a:gd name="connsiteY2" fmla="*/ 2863 h 2863"/>
                      <a:gd name="connsiteX3" fmla="*/ 0 w 20151"/>
                      <a:gd name="connsiteY3" fmla="*/ 2863 h 2863"/>
                    </a:gdLst>
                    <a:ahLst/>
                    <a:cxnLst>
                      <a:cxn ang="0">
                        <a:pos x="connsiteX0" y="connsiteY0"/>
                      </a:cxn>
                      <a:cxn ang="0">
                        <a:pos x="connsiteX1" y="connsiteY1"/>
                      </a:cxn>
                      <a:cxn ang="0">
                        <a:pos x="connsiteX2" y="connsiteY2"/>
                      </a:cxn>
                      <a:cxn ang="0">
                        <a:pos x="connsiteX3" y="connsiteY3"/>
                      </a:cxn>
                    </a:cxnLst>
                    <a:rect l="l" t="t" r="r" b="b"/>
                    <a:pathLst>
                      <a:path w="20151" h="2863">
                        <a:moveTo>
                          <a:pt x="0" y="0"/>
                        </a:moveTo>
                        <a:lnTo>
                          <a:pt x="20151" y="0"/>
                        </a:lnTo>
                        <a:lnTo>
                          <a:pt x="20151"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grpSp>
          <p:sp>
            <p:nvSpPr>
              <p:cNvPr id="35" name="Freeform: Shape 126">
                <a:extLst>
                  <a:ext uri="{FF2B5EF4-FFF2-40B4-BE49-F238E27FC236}">
                    <a16:creationId xmlns:a16="http://schemas.microsoft.com/office/drawing/2014/main" id="{177BF20E-1E14-C64E-AD13-3B47B34458CE}"/>
                  </a:ext>
                </a:extLst>
              </p:cNvPr>
              <p:cNvSpPr/>
              <p:nvPr/>
            </p:nvSpPr>
            <p:spPr>
              <a:xfrm>
                <a:off x="5261799" y="2317399"/>
                <a:ext cx="30502" cy="2863"/>
              </a:xfrm>
              <a:custGeom>
                <a:avLst/>
                <a:gdLst>
                  <a:gd name="connsiteX0" fmla="*/ 0 w 30502"/>
                  <a:gd name="connsiteY0" fmla="*/ 0 h 2863"/>
                  <a:gd name="connsiteX1" fmla="*/ 30502 w 30502"/>
                  <a:gd name="connsiteY1" fmla="*/ 0 h 2863"/>
                  <a:gd name="connsiteX2" fmla="*/ 30502 w 30502"/>
                  <a:gd name="connsiteY2" fmla="*/ 2863 h 2863"/>
                  <a:gd name="connsiteX3" fmla="*/ 0 w 30502"/>
                  <a:gd name="connsiteY3" fmla="*/ 2863 h 2863"/>
                </a:gdLst>
                <a:ahLst/>
                <a:cxnLst>
                  <a:cxn ang="0">
                    <a:pos x="connsiteX0" y="connsiteY0"/>
                  </a:cxn>
                  <a:cxn ang="0">
                    <a:pos x="connsiteX1" y="connsiteY1"/>
                  </a:cxn>
                  <a:cxn ang="0">
                    <a:pos x="connsiteX2" y="connsiteY2"/>
                  </a:cxn>
                  <a:cxn ang="0">
                    <a:pos x="connsiteX3" y="connsiteY3"/>
                  </a:cxn>
                </a:cxnLst>
                <a:rect l="l" t="t" r="r" b="b"/>
                <a:pathLst>
                  <a:path w="30502" h="2863">
                    <a:moveTo>
                      <a:pt x="0" y="0"/>
                    </a:moveTo>
                    <a:lnTo>
                      <a:pt x="30502" y="0"/>
                    </a:lnTo>
                    <a:lnTo>
                      <a:pt x="30502" y="2863"/>
                    </a:lnTo>
                    <a:lnTo>
                      <a:pt x="0" y="2863"/>
                    </a:lnTo>
                    <a:close/>
                  </a:path>
                </a:pathLst>
              </a:custGeom>
              <a:solidFill>
                <a:srgbClr val="0D274D"/>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36" name="Freeform: Shape 127">
                <a:extLst>
                  <a:ext uri="{FF2B5EF4-FFF2-40B4-BE49-F238E27FC236}">
                    <a16:creationId xmlns:a16="http://schemas.microsoft.com/office/drawing/2014/main" id="{7D755291-A450-A544-BCE1-27722E24B417}"/>
                  </a:ext>
                </a:extLst>
              </p:cNvPr>
              <p:cNvSpPr/>
              <p:nvPr/>
            </p:nvSpPr>
            <p:spPr>
              <a:xfrm>
                <a:off x="5214339" y="2342891"/>
                <a:ext cx="97342" cy="2863"/>
              </a:xfrm>
              <a:custGeom>
                <a:avLst/>
                <a:gdLst>
                  <a:gd name="connsiteX0" fmla="*/ 0 w 97342"/>
                  <a:gd name="connsiteY0" fmla="*/ 0 h 2863"/>
                  <a:gd name="connsiteX1" fmla="*/ 97343 w 97342"/>
                  <a:gd name="connsiteY1" fmla="*/ 0 h 2863"/>
                  <a:gd name="connsiteX2" fmla="*/ 97343 w 97342"/>
                  <a:gd name="connsiteY2" fmla="*/ 2863 h 2863"/>
                  <a:gd name="connsiteX3" fmla="*/ 0 w 97342"/>
                  <a:gd name="connsiteY3" fmla="*/ 2863 h 2863"/>
                </a:gdLst>
                <a:ahLst/>
                <a:cxnLst>
                  <a:cxn ang="0">
                    <a:pos x="connsiteX0" y="connsiteY0"/>
                  </a:cxn>
                  <a:cxn ang="0">
                    <a:pos x="connsiteX1" y="connsiteY1"/>
                  </a:cxn>
                  <a:cxn ang="0">
                    <a:pos x="connsiteX2" y="connsiteY2"/>
                  </a:cxn>
                  <a:cxn ang="0">
                    <a:pos x="connsiteX3" y="connsiteY3"/>
                  </a:cxn>
                </a:cxnLst>
                <a:rect l="l" t="t" r="r" b="b"/>
                <a:pathLst>
                  <a:path w="97342" h="2863">
                    <a:moveTo>
                      <a:pt x="0" y="0"/>
                    </a:moveTo>
                    <a:lnTo>
                      <a:pt x="97343" y="0"/>
                    </a:lnTo>
                    <a:lnTo>
                      <a:pt x="97343" y="2863"/>
                    </a:lnTo>
                    <a:lnTo>
                      <a:pt x="0" y="2863"/>
                    </a:lnTo>
                    <a:close/>
                  </a:path>
                </a:pathLst>
              </a:custGeom>
              <a:solidFill>
                <a:srgbClr val="0D274D"/>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37" name="Freeform: Shape 128">
                <a:extLst>
                  <a:ext uri="{FF2B5EF4-FFF2-40B4-BE49-F238E27FC236}">
                    <a16:creationId xmlns:a16="http://schemas.microsoft.com/office/drawing/2014/main" id="{8DE84C4E-013C-A54B-A7DD-BA5AD4C792D6}"/>
                  </a:ext>
                </a:extLst>
              </p:cNvPr>
              <p:cNvSpPr/>
              <p:nvPr/>
            </p:nvSpPr>
            <p:spPr>
              <a:xfrm>
                <a:off x="5166769" y="2368383"/>
                <a:ext cx="158842" cy="2863"/>
              </a:xfrm>
              <a:custGeom>
                <a:avLst/>
                <a:gdLst>
                  <a:gd name="connsiteX0" fmla="*/ 0 w 158842"/>
                  <a:gd name="connsiteY0" fmla="*/ 0 h 2863"/>
                  <a:gd name="connsiteX1" fmla="*/ 158843 w 158842"/>
                  <a:gd name="connsiteY1" fmla="*/ 0 h 2863"/>
                  <a:gd name="connsiteX2" fmla="*/ 158843 w 158842"/>
                  <a:gd name="connsiteY2" fmla="*/ 2863 h 2863"/>
                  <a:gd name="connsiteX3" fmla="*/ 0 w 158842"/>
                  <a:gd name="connsiteY3" fmla="*/ 2863 h 2863"/>
                </a:gdLst>
                <a:ahLst/>
                <a:cxnLst>
                  <a:cxn ang="0">
                    <a:pos x="connsiteX0" y="connsiteY0"/>
                  </a:cxn>
                  <a:cxn ang="0">
                    <a:pos x="connsiteX1" y="connsiteY1"/>
                  </a:cxn>
                  <a:cxn ang="0">
                    <a:pos x="connsiteX2" y="connsiteY2"/>
                  </a:cxn>
                  <a:cxn ang="0">
                    <a:pos x="connsiteX3" y="connsiteY3"/>
                  </a:cxn>
                </a:cxnLst>
                <a:rect l="l" t="t" r="r" b="b"/>
                <a:pathLst>
                  <a:path w="158842" h="2863">
                    <a:moveTo>
                      <a:pt x="0" y="0"/>
                    </a:moveTo>
                    <a:lnTo>
                      <a:pt x="158843" y="0"/>
                    </a:lnTo>
                    <a:lnTo>
                      <a:pt x="158843" y="2863"/>
                    </a:lnTo>
                    <a:lnTo>
                      <a:pt x="0" y="2863"/>
                    </a:lnTo>
                    <a:close/>
                  </a:path>
                </a:pathLst>
              </a:custGeom>
              <a:solidFill>
                <a:srgbClr val="0D274D"/>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38" name="Freeform: Shape 129">
                <a:extLst>
                  <a:ext uri="{FF2B5EF4-FFF2-40B4-BE49-F238E27FC236}">
                    <a16:creationId xmlns:a16="http://schemas.microsoft.com/office/drawing/2014/main" id="{09CB5A21-6B38-A444-BB85-81013396981F}"/>
                  </a:ext>
                </a:extLst>
              </p:cNvPr>
              <p:cNvSpPr/>
              <p:nvPr/>
            </p:nvSpPr>
            <p:spPr>
              <a:xfrm>
                <a:off x="5122007" y="2392279"/>
                <a:ext cx="225573" cy="2863"/>
              </a:xfrm>
              <a:custGeom>
                <a:avLst/>
                <a:gdLst>
                  <a:gd name="connsiteX0" fmla="*/ 0 w 225573"/>
                  <a:gd name="connsiteY0" fmla="*/ 0 h 2863"/>
                  <a:gd name="connsiteX1" fmla="*/ 225573 w 225573"/>
                  <a:gd name="connsiteY1" fmla="*/ 0 h 2863"/>
                  <a:gd name="connsiteX2" fmla="*/ 225573 w 225573"/>
                  <a:gd name="connsiteY2" fmla="*/ 2863 h 2863"/>
                  <a:gd name="connsiteX3" fmla="*/ 0 w 225573"/>
                  <a:gd name="connsiteY3" fmla="*/ 2863 h 2863"/>
                </a:gdLst>
                <a:ahLst/>
                <a:cxnLst>
                  <a:cxn ang="0">
                    <a:pos x="connsiteX0" y="connsiteY0"/>
                  </a:cxn>
                  <a:cxn ang="0">
                    <a:pos x="connsiteX1" y="connsiteY1"/>
                  </a:cxn>
                  <a:cxn ang="0">
                    <a:pos x="connsiteX2" y="connsiteY2"/>
                  </a:cxn>
                  <a:cxn ang="0">
                    <a:pos x="connsiteX3" y="connsiteY3"/>
                  </a:cxn>
                </a:cxnLst>
                <a:rect l="l" t="t" r="r" b="b"/>
                <a:pathLst>
                  <a:path w="225573" h="2863">
                    <a:moveTo>
                      <a:pt x="0" y="0"/>
                    </a:moveTo>
                    <a:lnTo>
                      <a:pt x="225573" y="0"/>
                    </a:lnTo>
                    <a:lnTo>
                      <a:pt x="225573" y="2863"/>
                    </a:lnTo>
                    <a:lnTo>
                      <a:pt x="0" y="2863"/>
                    </a:lnTo>
                    <a:close/>
                  </a:path>
                </a:pathLst>
              </a:custGeom>
              <a:solidFill>
                <a:srgbClr val="0D274D"/>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nvGrpSpPr>
              <p:cNvPr id="39" name="Graphic 110">
                <a:extLst>
                  <a:ext uri="{FF2B5EF4-FFF2-40B4-BE49-F238E27FC236}">
                    <a16:creationId xmlns:a16="http://schemas.microsoft.com/office/drawing/2014/main" id="{A7009337-7254-EE4D-9BC5-135352D7B498}"/>
                  </a:ext>
                </a:extLst>
              </p:cNvPr>
              <p:cNvGrpSpPr/>
              <p:nvPr/>
            </p:nvGrpSpPr>
            <p:grpSpPr>
              <a:xfrm>
                <a:off x="5265543" y="2150904"/>
                <a:ext cx="328422" cy="275566"/>
                <a:chOff x="5291361" y="2150904"/>
                <a:chExt cx="328422" cy="275566"/>
              </a:xfrm>
              <a:solidFill>
                <a:srgbClr val="00BCEB"/>
              </a:solidFill>
            </p:grpSpPr>
            <p:sp>
              <p:nvSpPr>
                <p:cNvPr id="97" name="Freeform: Shape 131">
                  <a:extLst>
                    <a:ext uri="{FF2B5EF4-FFF2-40B4-BE49-F238E27FC236}">
                      <a16:creationId xmlns:a16="http://schemas.microsoft.com/office/drawing/2014/main" id="{147CD2B4-F12E-6A47-9B5C-269D8D1B1AF0}"/>
                    </a:ext>
                  </a:extLst>
                </p:cNvPr>
                <p:cNvSpPr/>
                <p:nvPr/>
              </p:nvSpPr>
              <p:spPr>
                <a:xfrm>
                  <a:off x="5350218" y="2150904"/>
                  <a:ext cx="254919" cy="254919"/>
                </a:xfrm>
                <a:custGeom>
                  <a:avLst/>
                  <a:gdLst>
                    <a:gd name="connsiteX0" fmla="*/ 254919 w 254919"/>
                    <a:gd name="connsiteY0" fmla="*/ 127460 h 254919"/>
                    <a:gd name="connsiteX1" fmla="*/ 127460 w 254919"/>
                    <a:gd name="connsiteY1" fmla="*/ 254919 h 254919"/>
                    <a:gd name="connsiteX2" fmla="*/ 0 w 254919"/>
                    <a:gd name="connsiteY2" fmla="*/ 127460 h 254919"/>
                    <a:gd name="connsiteX3" fmla="*/ 127460 w 254919"/>
                    <a:gd name="connsiteY3" fmla="*/ 0 h 254919"/>
                    <a:gd name="connsiteX4" fmla="*/ 254919 w 254919"/>
                    <a:gd name="connsiteY4" fmla="*/ 127460 h 25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19" h="254919">
                      <a:moveTo>
                        <a:pt x="254919" y="127460"/>
                      </a:moveTo>
                      <a:cubicBezTo>
                        <a:pt x="254919" y="197854"/>
                        <a:pt x="197854" y="254919"/>
                        <a:pt x="127460" y="254919"/>
                      </a:cubicBezTo>
                      <a:cubicBezTo>
                        <a:pt x="57066" y="254919"/>
                        <a:pt x="0" y="197854"/>
                        <a:pt x="0" y="127460"/>
                      </a:cubicBezTo>
                      <a:cubicBezTo>
                        <a:pt x="0" y="57066"/>
                        <a:pt x="57066" y="0"/>
                        <a:pt x="127460" y="0"/>
                      </a:cubicBezTo>
                      <a:cubicBezTo>
                        <a:pt x="197854" y="0"/>
                        <a:pt x="254919" y="57066"/>
                        <a:pt x="254919" y="127460"/>
                      </a:cubicBezTo>
                      <a:close/>
                    </a:path>
                  </a:pathLst>
                </a:custGeom>
                <a:solidFill>
                  <a:srgbClr val="6EBE4A"/>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8" name="Freeform: Shape 132">
                  <a:extLst>
                    <a:ext uri="{FF2B5EF4-FFF2-40B4-BE49-F238E27FC236}">
                      <a16:creationId xmlns:a16="http://schemas.microsoft.com/office/drawing/2014/main" id="{B12C38B8-31BE-D642-967D-924D823E7839}"/>
                    </a:ext>
                  </a:extLst>
                </p:cNvPr>
                <p:cNvSpPr/>
                <p:nvPr/>
              </p:nvSpPr>
              <p:spPr>
                <a:xfrm>
                  <a:off x="5325332" y="2166045"/>
                  <a:ext cx="260425" cy="260425"/>
                </a:xfrm>
                <a:custGeom>
                  <a:avLst/>
                  <a:gdLst>
                    <a:gd name="connsiteX0" fmla="*/ 130213 w 260425"/>
                    <a:gd name="connsiteY0" fmla="*/ 260425 h 260425"/>
                    <a:gd name="connsiteX1" fmla="*/ 0 w 260425"/>
                    <a:gd name="connsiteY1" fmla="*/ 130213 h 260425"/>
                    <a:gd name="connsiteX2" fmla="*/ 130213 w 260425"/>
                    <a:gd name="connsiteY2" fmla="*/ 0 h 260425"/>
                    <a:gd name="connsiteX3" fmla="*/ 260425 w 260425"/>
                    <a:gd name="connsiteY3" fmla="*/ 130213 h 260425"/>
                    <a:gd name="connsiteX4" fmla="*/ 130213 w 260425"/>
                    <a:gd name="connsiteY4" fmla="*/ 260425 h 260425"/>
                    <a:gd name="connsiteX5" fmla="*/ 130213 w 260425"/>
                    <a:gd name="connsiteY5" fmla="*/ 5506 h 260425"/>
                    <a:gd name="connsiteX6" fmla="*/ 5506 w 260425"/>
                    <a:gd name="connsiteY6" fmla="*/ 130213 h 260425"/>
                    <a:gd name="connsiteX7" fmla="*/ 130213 w 260425"/>
                    <a:gd name="connsiteY7" fmla="*/ 254919 h 260425"/>
                    <a:gd name="connsiteX8" fmla="*/ 254919 w 260425"/>
                    <a:gd name="connsiteY8" fmla="*/ 130213 h 260425"/>
                    <a:gd name="connsiteX9" fmla="*/ 130213 w 260425"/>
                    <a:gd name="connsiteY9" fmla="*/ 5506 h 2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425" h="260425">
                      <a:moveTo>
                        <a:pt x="130213" y="260425"/>
                      </a:moveTo>
                      <a:cubicBezTo>
                        <a:pt x="58417" y="260425"/>
                        <a:pt x="0" y="202009"/>
                        <a:pt x="0" y="130213"/>
                      </a:cubicBezTo>
                      <a:cubicBezTo>
                        <a:pt x="0" y="58417"/>
                        <a:pt x="58417" y="0"/>
                        <a:pt x="130213" y="0"/>
                      </a:cubicBezTo>
                      <a:cubicBezTo>
                        <a:pt x="202009" y="0"/>
                        <a:pt x="260425" y="58417"/>
                        <a:pt x="260425" y="130213"/>
                      </a:cubicBezTo>
                      <a:cubicBezTo>
                        <a:pt x="260425" y="202009"/>
                        <a:pt x="202009" y="260425"/>
                        <a:pt x="130213" y="260425"/>
                      </a:cubicBezTo>
                      <a:close/>
                      <a:moveTo>
                        <a:pt x="130213" y="5506"/>
                      </a:moveTo>
                      <a:cubicBezTo>
                        <a:pt x="61445" y="5506"/>
                        <a:pt x="5506" y="61445"/>
                        <a:pt x="5506" y="130213"/>
                      </a:cubicBezTo>
                      <a:cubicBezTo>
                        <a:pt x="5506" y="198980"/>
                        <a:pt x="61445" y="254919"/>
                        <a:pt x="130213" y="254919"/>
                      </a:cubicBezTo>
                      <a:cubicBezTo>
                        <a:pt x="198980" y="254919"/>
                        <a:pt x="254919" y="198980"/>
                        <a:pt x="254919" y="130213"/>
                      </a:cubicBezTo>
                      <a:cubicBezTo>
                        <a:pt x="254919" y="61445"/>
                        <a:pt x="198980" y="5506"/>
                        <a:pt x="130213" y="5506"/>
                      </a:cubicBezTo>
                      <a:close/>
                    </a:path>
                  </a:pathLst>
                </a:custGeom>
                <a:solidFill>
                  <a:srgbClr val="1E4471"/>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9" name="Freeform: Shape 133">
                  <a:extLst>
                    <a:ext uri="{FF2B5EF4-FFF2-40B4-BE49-F238E27FC236}">
                      <a16:creationId xmlns:a16="http://schemas.microsoft.com/office/drawing/2014/main" id="{F8ECEC42-FE5F-454A-9A6D-7B11AC68DB34}"/>
                    </a:ext>
                  </a:extLst>
                </p:cNvPr>
                <p:cNvSpPr/>
                <p:nvPr/>
              </p:nvSpPr>
              <p:spPr>
                <a:xfrm>
                  <a:off x="5291361" y="2279189"/>
                  <a:ext cx="328422" cy="57535"/>
                </a:xfrm>
                <a:custGeom>
                  <a:avLst/>
                  <a:gdLst>
                    <a:gd name="connsiteX0" fmla="*/ 164184 w 328422"/>
                    <a:gd name="connsiteY0" fmla="*/ 57536 h 57535"/>
                    <a:gd name="connsiteX1" fmla="*/ 0 w 328422"/>
                    <a:gd name="connsiteY1" fmla="*/ 22849 h 57535"/>
                    <a:gd name="connsiteX2" fmla="*/ 38541 w 328422"/>
                    <a:gd name="connsiteY2" fmla="*/ 0 h 57535"/>
                    <a:gd name="connsiteX3" fmla="*/ 39862 w 328422"/>
                    <a:gd name="connsiteY3" fmla="*/ 5341 h 57535"/>
                    <a:gd name="connsiteX4" fmla="*/ 5561 w 328422"/>
                    <a:gd name="connsiteY4" fmla="*/ 22849 h 57535"/>
                    <a:gd name="connsiteX5" fmla="*/ 164239 w 328422"/>
                    <a:gd name="connsiteY5" fmla="*/ 52030 h 57535"/>
                    <a:gd name="connsiteX6" fmla="*/ 322916 w 328422"/>
                    <a:gd name="connsiteY6" fmla="*/ 22849 h 57535"/>
                    <a:gd name="connsiteX7" fmla="*/ 288615 w 328422"/>
                    <a:gd name="connsiteY7" fmla="*/ 5341 h 57535"/>
                    <a:gd name="connsiteX8" fmla="*/ 289881 w 328422"/>
                    <a:gd name="connsiteY8" fmla="*/ 0 h 57535"/>
                    <a:gd name="connsiteX9" fmla="*/ 328422 w 328422"/>
                    <a:gd name="connsiteY9" fmla="*/ 22849 h 57535"/>
                    <a:gd name="connsiteX10" fmla="*/ 164184 w 328422"/>
                    <a:gd name="connsiteY10" fmla="*/ 57536 h 5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422" h="57535">
                      <a:moveTo>
                        <a:pt x="164184" y="57536"/>
                      </a:moveTo>
                      <a:cubicBezTo>
                        <a:pt x="84569" y="57536"/>
                        <a:pt x="0" y="45368"/>
                        <a:pt x="0" y="22849"/>
                      </a:cubicBezTo>
                      <a:cubicBezTo>
                        <a:pt x="0" y="13875"/>
                        <a:pt x="12939" y="6167"/>
                        <a:pt x="38541" y="0"/>
                      </a:cubicBezTo>
                      <a:lnTo>
                        <a:pt x="39862" y="5341"/>
                      </a:lnTo>
                      <a:cubicBezTo>
                        <a:pt x="8039" y="13049"/>
                        <a:pt x="5561" y="20702"/>
                        <a:pt x="5561" y="22849"/>
                      </a:cubicBezTo>
                      <a:cubicBezTo>
                        <a:pt x="5561" y="36669"/>
                        <a:pt x="70750" y="52030"/>
                        <a:pt x="164239" y="52030"/>
                      </a:cubicBezTo>
                      <a:cubicBezTo>
                        <a:pt x="257727" y="52030"/>
                        <a:pt x="322916" y="36669"/>
                        <a:pt x="322916" y="22849"/>
                      </a:cubicBezTo>
                      <a:cubicBezTo>
                        <a:pt x="322916" y="20702"/>
                        <a:pt x="320439" y="13049"/>
                        <a:pt x="288615" y="5341"/>
                      </a:cubicBezTo>
                      <a:lnTo>
                        <a:pt x="289881" y="0"/>
                      </a:lnTo>
                      <a:cubicBezTo>
                        <a:pt x="315428" y="6167"/>
                        <a:pt x="328422" y="13875"/>
                        <a:pt x="328422" y="22849"/>
                      </a:cubicBezTo>
                      <a:cubicBezTo>
                        <a:pt x="328367" y="45423"/>
                        <a:pt x="243798" y="57536"/>
                        <a:pt x="164184" y="57536"/>
                      </a:cubicBezTo>
                      <a:close/>
                    </a:path>
                  </a:pathLst>
                </a:custGeom>
                <a:solidFill>
                  <a:srgbClr val="1E4471"/>
                </a:solidFill>
                <a:ln w="5492" cap="flat">
                  <a:solidFill>
                    <a:srgbClr val="00BCEB"/>
                  </a:solid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0" name="Freeform: Shape 134">
                  <a:extLst>
                    <a:ext uri="{FF2B5EF4-FFF2-40B4-BE49-F238E27FC236}">
                      <a16:creationId xmlns:a16="http://schemas.microsoft.com/office/drawing/2014/main" id="{3B755644-1AAF-C344-8ED3-CD7C24227ED7}"/>
                    </a:ext>
                  </a:extLst>
                </p:cNvPr>
                <p:cNvSpPr/>
                <p:nvPr/>
              </p:nvSpPr>
              <p:spPr>
                <a:xfrm>
                  <a:off x="5332286" y="2174088"/>
                  <a:ext cx="238232" cy="238121"/>
                </a:xfrm>
                <a:custGeom>
                  <a:avLst/>
                  <a:gdLst>
                    <a:gd name="connsiteX0" fmla="*/ 11435 w 238232"/>
                    <a:gd name="connsiteY0" fmla="*/ 238121 h 238121"/>
                    <a:gd name="connsiteX1" fmla="*/ 3067 w 238232"/>
                    <a:gd name="connsiteY1" fmla="*/ 235148 h 238121"/>
                    <a:gd name="connsiteX2" fmla="*/ 9178 w 238232"/>
                    <a:gd name="connsiteY2" fmla="*/ 200296 h 238121"/>
                    <a:gd name="connsiteX3" fmla="*/ 14023 w 238232"/>
                    <a:gd name="connsiteY3" fmla="*/ 202939 h 238121"/>
                    <a:gd name="connsiteX4" fmla="*/ 6976 w 238232"/>
                    <a:gd name="connsiteY4" fmla="*/ 231239 h 238121"/>
                    <a:gd name="connsiteX5" fmla="*/ 139776 w 238232"/>
                    <a:gd name="connsiteY5" fmla="*/ 139677 h 238121"/>
                    <a:gd name="connsiteX6" fmla="*/ 213554 w 238232"/>
                    <a:gd name="connsiteY6" fmla="*/ 52796 h 238121"/>
                    <a:gd name="connsiteX7" fmla="*/ 231393 w 238232"/>
                    <a:gd name="connsiteY7" fmla="*/ 6877 h 238121"/>
                    <a:gd name="connsiteX8" fmla="*/ 202047 w 238232"/>
                    <a:gd name="connsiteY8" fmla="*/ 14475 h 238121"/>
                    <a:gd name="connsiteX9" fmla="*/ 199294 w 238232"/>
                    <a:gd name="connsiteY9" fmla="*/ 9685 h 238121"/>
                    <a:gd name="connsiteX10" fmla="*/ 235192 w 238232"/>
                    <a:gd name="connsiteY10" fmla="*/ 3023 h 238121"/>
                    <a:gd name="connsiteX11" fmla="*/ 218069 w 238232"/>
                    <a:gd name="connsiteY11" fmla="*/ 55879 h 238121"/>
                    <a:gd name="connsiteX12" fmla="*/ 143630 w 238232"/>
                    <a:gd name="connsiteY12" fmla="*/ 143587 h 238121"/>
                    <a:gd name="connsiteX13" fmla="*/ 11435 w 238232"/>
                    <a:gd name="connsiteY13" fmla="*/ 238121 h 2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232" h="238121">
                      <a:moveTo>
                        <a:pt x="11435" y="238121"/>
                      </a:moveTo>
                      <a:cubicBezTo>
                        <a:pt x="7912" y="238121"/>
                        <a:pt x="5049" y="237185"/>
                        <a:pt x="3067" y="235148"/>
                      </a:cubicBezTo>
                      <a:cubicBezTo>
                        <a:pt x="-2494" y="229587"/>
                        <a:pt x="-512" y="218190"/>
                        <a:pt x="9178" y="200296"/>
                      </a:cubicBezTo>
                      <a:lnTo>
                        <a:pt x="14023" y="202939"/>
                      </a:lnTo>
                      <a:cubicBezTo>
                        <a:pt x="2516" y="224192"/>
                        <a:pt x="5709" y="229973"/>
                        <a:pt x="6976" y="231239"/>
                      </a:cubicBezTo>
                      <a:cubicBezTo>
                        <a:pt x="16721" y="240984"/>
                        <a:pt x="73706" y="205802"/>
                        <a:pt x="139776" y="139677"/>
                      </a:cubicBezTo>
                      <a:cubicBezTo>
                        <a:pt x="170168" y="109340"/>
                        <a:pt x="196321" y="78453"/>
                        <a:pt x="213554" y="52796"/>
                      </a:cubicBezTo>
                      <a:cubicBezTo>
                        <a:pt x="232384" y="24661"/>
                        <a:pt x="235137" y="10621"/>
                        <a:pt x="231393" y="6877"/>
                      </a:cubicBezTo>
                      <a:cubicBezTo>
                        <a:pt x="230071" y="5556"/>
                        <a:pt x="224125" y="2307"/>
                        <a:pt x="202047" y="14475"/>
                      </a:cubicBezTo>
                      <a:lnTo>
                        <a:pt x="199294" y="9685"/>
                      </a:lnTo>
                      <a:cubicBezTo>
                        <a:pt x="217518" y="-391"/>
                        <a:pt x="229576" y="-2593"/>
                        <a:pt x="235192" y="3023"/>
                      </a:cubicBezTo>
                      <a:cubicBezTo>
                        <a:pt x="242460" y="10291"/>
                        <a:pt x="236678" y="28074"/>
                        <a:pt x="218069" y="55879"/>
                      </a:cubicBezTo>
                      <a:cubicBezTo>
                        <a:pt x="200670" y="81866"/>
                        <a:pt x="174242" y="112974"/>
                        <a:pt x="143630" y="143587"/>
                      </a:cubicBezTo>
                      <a:cubicBezTo>
                        <a:pt x="94463" y="192809"/>
                        <a:pt x="35991" y="238121"/>
                        <a:pt x="11435" y="238121"/>
                      </a:cubicBezTo>
                      <a:close/>
                    </a:path>
                  </a:pathLst>
                </a:custGeom>
                <a:solidFill>
                  <a:srgbClr val="FFFFFF"/>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1" name="Freeform: Shape 135">
                  <a:extLst>
                    <a:ext uri="{FF2B5EF4-FFF2-40B4-BE49-F238E27FC236}">
                      <a16:creationId xmlns:a16="http://schemas.microsoft.com/office/drawing/2014/main" id="{B5C05320-CC54-EC4E-A49E-1311D13FD5C1}"/>
                    </a:ext>
                  </a:extLst>
                </p:cNvPr>
                <p:cNvSpPr/>
                <p:nvPr/>
              </p:nvSpPr>
              <p:spPr>
                <a:xfrm>
                  <a:off x="5340571" y="2174102"/>
                  <a:ext cx="238220" cy="238107"/>
                </a:xfrm>
                <a:custGeom>
                  <a:avLst/>
                  <a:gdLst>
                    <a:gd name="connsiteX0" fmla="*/ 226852 w 238220"/>
                    <a:gd name="connsiteY0" fmla="*/ 238107 h 238107"/>
                    <a:gd name="connsiteX1" fmla="*/ 94602 w 238220"/>
                    <a:gd name="connsiteY1" fmla="*/ 143572 h 238107"/>
                    <a:gd name="connsiteX2" fmla="*/ 20164 w 238220"/>
                    <a:gd name="connsiteY2" fmla="*/ 55865 h 238107"/>
                    <a:gd name="connsiteX3" fmla="*/ 3041 w 238220"/>
                    <a:gd name="connsiteY3" fmla="*/ 3009 h 238107"/>
                    <a:gd name="connsiteX4" fmla="*/ 38443 w 238220"/>
                    <a:gd name="connsiteY4" fmla="*/ 9451 h 238107"/>
                    <a:gd name="connsiteX5" fmla="*/ 35800 w 238220"/>
                    <a:gd name="connsiteY5" fmla="*/ 14241 h 238107"/>
                    <a:gd name="connsiteX6" fmla="*/ 6895 w 238220"/>
                    <a:gd name="connsiteY6" fmla="*/ 6863 h 238107"/>
                    <a:gd name="connsiteX7" fmla="*/ 24734 w 238220"/>
                    <a:gd name="connsiteY7" fmla="*/ 52781 h 238107"/>
                    <a:gd name="connsiteX8" fmla="*/ 98512 w 238220"/>
                    <a:gd name="connsiteY8" fmla="*/ 139663 h 238107"/>
                    <a:gd name="connsiteX9" fmla="*/ 231312 w 238220"/>
                    <a:gd name="connsiteY9" fmla="*/ 231225 h 238107"/>
                    <a:gd name="connsiteX10" fmla="*/ 222778 w 238220"/>
                    <a:gd name="connsiteY10" fmla="*/ 200227 h 238107"/>
                    <a:gd name="connsiteX11" fmla="*/ 227568 w 238220"/>
                    <a:gd name="connsiteY11" fmla="*/ 197529 h 238107"/>
                    <a:gd name="connsiteX12" fmla="*/ 235221 w 238220"/>
                    <a:gd name="connsiteY12" fmla="*/ 235134 h 238107"/>
                    <a:gd name="connsiteX13" fmla="*/ 226852 w 238220"/>
                    <a:gd name="connsiteY13" fmla="*/ 238107 h 23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220" h="238107">
                      <a:moveTo>
                        <a:pt x="226852" y="238107"/>
                      </a:moveTo>
                      <a:cubicBezTo>
                        <a:pt x="202296" y="238107"/>
                        <a:pt x="143824" y="192794"/>
                        <a:pt x="94602" y="143572"/>
                      </a:cubicBezTo>
                      <a:cubicBezTo>
                        <a:pt x="63990" y="112960"/>
                        <a:pt x="37562" y="81797"/>
                        <a:pt x="20164" y="55865"/>
                      </a:cubicBezTo>
                      <a:cubicBezTo>
                        <a:pt x="1554" y="28060"/>
                        <a:pt x="-4227" y="10277"/>
                        <a:pt x="3041" y="3009"/>
                      </a:cubicBezTo>
                      <a:cubicBezTo>
                        <a:pt x="8602" y="-2552"/>
                        <a:pt x="20549" y="-405"/>
                        <a:pt x="38443" y="9451"/>
                      </a:cubicBezTo>
                      <a:lnTo>
                        <a:pt x="35800" y="14241"/>
                      </a:lnTo>
                      <a:cubicBezTo>
                        <a:pt x="14107" y="2348"/>
                        <a:pt x="8216" y="5597"/>
                        <a:pt x="6895" y="6863"/>
                      </a:cubicBezTo>
                      <a:cubicBezTo>
                        <a:pt x="3151" y="10607"/>
                        <a:pt x="5849" y="24647"/>
                        <a:pt x="24734" y="52781"/>
                      </a:cubicBezTo>
                      <a:cubicBezTo>
                        <a:pt x="41912" y="78439"/>
                        <a:pt x="68119" y="109326"/>
                        <a:pt x="98512" y="139663"/>
                      </a:cubicBezTo>
                      <a:cubicBezTo>
                        <a:pt x="164636" y="205788"/>
                        <a:pt x="221567" y="240970"/>
                        <a:pt x="231312" y="231225"/>
                      </a:cubicBezTo>
                      <a:cubicBezTo>
                        <a:pt x="232688" y="229849"/>
                        <a:pt x="236047" y="223627"/>
                        <a:pt x="222778" y="200227"/>
                      </a:cubicBezTo>
                      <a:lnTo>
                        <a:pt x="227568" y="197529"/>
                      </a:lnTo>
                      <a:cubicBezTo>
                        <a:pt x="238414" y="216690"/>
                        <a:pt x="241002" y="229353"/>
                        <a:pt x="235221" y="235134"/>
                      </a:cubicBezTo>
                      <a:cubicBezTo>
                        <a:pt x="233239" y="237171"/>
                        <a:pt x="230376" y="238107"/>
                        <a:pt x="226852" y="238107"/>
                      </a:cubicBezTo>
                      <a:close/>
                    </a:path>
                  </a:pathLst>
                </a:custGeom>
                <a:solidFill>
                  <a:srgbClr val="70BF49"/>
                </a:solidFill>
                <a:ln w="5492" cap="flat">
                  <a:solidFill>
                    <a:srgbClr val="0D274D"/>
                  </a:solid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102" name="Freeform: Shape 136">
                  <a:extLst>
                    <a:ext uri="{FF2B5EF4-FFF2-40B4-BE49-F238E27FC236}">
                      <a16:creationId xmlns:a16="http://schemas.microsoft.com/office/drawing/2014/main" id="{A340ADAB-1551-CD45-85D4-DE6E0E316CE7}"/>
                    </a:ext>
                  </a:extLst>
                </p:cNvPr>
                <p:cNvSpPr/>
                <p:nvPr/>
              </p:nvSpPr>
              <p:spPr>
                <a:xfrm>
                  <a:off x="5440184" y="2317069"/>
                  <a:ext cx="30722" cy="30722"/>
                </a:xfrm>
                <a:custGeom>
                  <a:avLst/>
                  <a:gdLst>
                    <a:gd name="connsiteX0" fmla="*/ 30722 w 30722"/>
                    <a:gd name="connsiteY0" fmla="*/ 15361 h 30722"/>
                    <a:gd name="connsiteX1" fmla="*/ 15361 w 30722"/>
                    <a:gd name="connsiteY1" fmla="*/ 30722 h 30722"/>
                    <a:gd name="connsiteX2" fmla="*/ 0 w 30722"/>
                    <a:gd name="connsiteY2" fmla="*/ 15361 h 30722"/>
                    <a:gd name="connsiteX3" fmla="*/ 15361 w 30722"/>
                    <a:gd name="connsiteY3" fmla="*/ 0 h 30722"/>
                    <a:gd name="connsiteX4" fmla="*/ 30722 w 30722"/>
                    <a:gd name="connsiteY4" fmla="*/ 15361 h 3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2" h="30722">
                      <a:moveTo>
                        <a:pt x="30722" y="15361"/>
                      </a:moveTo>
                      <a:cubicBezTo>
                        <a:pt x="30722" y="23845"/>
                        <a:pt x="23845" y="30722"/>
                        <a:pt x="15361" y="30722"/>
                      </a:cubicBezTo>
                      <a:cubicBezTo>
                        <a:pt x="6877" y="30722"/>
                        <a:pt x="0" y="23845"/>
                        <a:pt x="0" y="15361"/>
                      </a:cubicBezTo>
                      <a:cubicBezTo>
                        <a:pt x="0" y="6877"/>
                        <a:pt x="6877" y="0"/>
                        <a:pt x="15361" y="0"/>
                      </a:cubicBezTo>
                      <a:cubicBezTo>
                        <a:pt x="23845" y="0"/>
                        <a:pt x="30722" y="6877"/>
                        <a:pt x="30722" y="15361"/>
                      </a:cubicBezTo>
                      <a:close/>
                    </a:path>
                  </a:pathLst>
                </a:custGeom>
                <a:solidFill>
                  <a:srgbClr val="1E4471"/>
                </a:solid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sp>
            <p:nvSpPr>
              <p:cNvPr id="40" name="Rectangle 39">
                <a:extLst>
                  <a:ext uri="{FF2B5EF4-FFF2-40B4-BE49-F238E27FC236}">
                    <a16:creationId xmlns:a16="http://schemas.microsoft.com/office/drawing/2014/main" id="{41486ED2-CE9E-3F46-AB81-19336522BBE0}"/>
                  </a:ext>
                </a:extLst>
              </p:cNvPr>
              <p:cNvSpPr/>
              <p:nvPr/>
            </p:nvSpPr>
            <p:spPr>
              <a:xfrm>
                <a:off x="6489037" y="2178433"/>
                <a:ext cx="64533" cy="331813"/>
              </a:xfrm>
              <a:prstGeom prst="rect">
                <a:avLst/>
              </a:prstGeom>
              <a:solidFill>
                <a:srgbClr val="9E9EA2">
                  <a:lumMod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41" name="Rectangle 40">
                <a:extLst>
                  <a:ext uri="{FF2B5EF4-FFF2-40B4-BE49-F238E27FC236}">
                    <a16:creationId xmlns:a16="http://schemas.microsoft.com/office/drawing/2014/main" id="{BBA5D670-D760-EA4E-9A95-3E61BF390016}"/>
                  </a:ext>
                </a:extLst>
              </p:cNvPr>
              <p:cNvSpPr/>
              <p:nvPr/>
            </p:nvSpPr>
            <p:spPr>
              <a:xfrm>
                <a:off x="5791407" y="2178433"/>
                <a:ext cx="64533" cy="331813"/>
              </a:xfrm>
              <a:prstGeom prst="rect">
                <a:avLst/>
              </a:prstGeom>
              <a:solidFill>
                <a:srgbClr val="9E9EA2">
                  <a:lumMod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42" name="Rectangle 41">
                <a:extLst>
                  <a:ext uri="{FF2B5EF4-FFF2-40B4-BE49-F238E27FC236}">
                    <a16:creationId xmlns:a16="http://schemas.microsoft.com/office/drawing/2014/main" id="{366D6968-03FE-294C-8427-1F66CBAB0743}"/>
                  </a:ext>
                </a:extLst>
              </p:cNvPr>
              <p:cNvSpPr/>
              <p:nvPr/>
            </p:nvSpPr>
            <p:spPr>
              <a:xfrm>
                <a:off x="3532412" y="1174224"/>
                <a:ext cx="1138209" cy="550164"/>
              </a:xfrm>
              <a:prstGeom prst="rect">
                <a:avLst/>
              </a:prstGeom>
            </p:spPr>
            <p:txBody>
              <a:bodyPr wrap="square" lIns="0" tIns="0" rIns="0" bIns="0" anchor="ctr">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D274D"/>
                    </a:solidFill>
                    <a:effectLst/>
                    <a:uLnTx/>
                    <a:uFillTx/>
                    <a:latin typeface="+mj-lt"/>
                    <a:ea typeface="ＭＳ Ｐゴシック" charset="0"/>
                  </a:rPr>
                  <a:t>Continuous Trust Verification</a:t>
                </a:r>
              </a:p>
            </p:txBody>
          </p:sp>
          <p:grpSp>
            <p:nvGrpSpPr>
              <p:cNvPr id="43" name="Group 42">
                <a:extLst>
                  <a:ext uri="{FF2B5EF4-FFF2-40B4-BE49-F238E27FC236}">
                    <a16:creationId xmlns:a16="http://schemas.microsoft.com/office/drawing/2014/main" id="{963F8233-6A92-054B-8F71-1C47E6F35714}"/>
                  </a:ext>
                </a:extLst>
              </p:cNvPr>
              <p:cNvGrpSpPr/>
              <p:nvPr/>
            </p:nvGrpSpPr>
            <p:grpSpPr>
              <a:xfrm rot="16200000">
                <a:off x="7002862" y="2257828"/>
                <a:ext cx="225573" cy="77743"/>
                <a:chOff x="6969787" y="2368504"/>
                <a:chExt cx="225573" cy="77743"/>
              </a:xfrm>
              <a:solidFill>
                <a:srgbClr val="0D274D"/>
              </a:solidFill>
            </p:grpSpPr>
            <p:sp>
              <p:nvSpPr>
                <p:cNvPr id="93" name="Freeform: Shape 117">
                  <a:extLst>
                    <a:ext uri="{FF2B5EF4-FFF2-40B4-BE49-F238E27FC236}">
                      <a16:creationId xmlns:a16="http://schemas.microsoft.com/office/drawing/2014/main" id="{B0897578-B8B2-7B44-A258-328FF47DF2EE}"/>
                    </a:ext>
                  </a:extLst>
                </p:cNvPr>
                <p:cNvSpPr/>
                <p:nvPr/>
              </p:nvSpPr>
              <p:spPr>
                <a:xfrm>
                  <a:off x="7109579" y="2368504"/>
                  <a:ext cx="30502" cy="2863"/>
                </a:xfrm>
                <a:custGeom>
                  <a:avLst/>
                  <a:gdLst>
                    <a:gd name="connsiteX0" fmla="*/ 0 w 30502"/>
                    <a:gd name="connsiteY0" fmla="*/ 0 h 2863"/>
                    <a:gd name="connsiteX1" fmla="*/ 30502 w 30502"/>
                    <a:gd name="connsiteY1" fmla="*/ 0 h 2863"/>
                    <a:gd name="connsiteX2" fmla="*/ 30502 w 30502"/>
                    <a:gd name="connsiteY2" fmla="*/ 2863 h 2863"/>
                    <a:gd name="connsiteX3" fmla="*/ 0 w 30502"/>
                    <a:gd name="connsiteY3" fmla="*/ 2863 h 2863"/>
                  </a:gdLst>
                  <a:ahLst/>
                  <a:cxnLst>
                    <a:cxn ang="0">
                      <a:pos x="connsiteX0" y="connsiteY0"/>
                    </a:cxn>
                    <a:cxn ang="0">
                      <a:pos x="connsiteX1" y="connsiteY1"/>
                    </a:cxn>
                    <a:cxn ang="0">
                      <a:pos x="connsiteX2" y="connsiteY2"/>
                    </a:cxn>
                    <a:cxn ang="0">
                      <a:pos x="connsiteX3" y="connsiteY3"/>
                    </a:cxn>
                  </a:cxnLst>
                  <a:rect l="l" t="t" r="r" b="b"/>
                  <a:pathLst>
                    <a:path w="30502" h="2863">
                      <a:moveTo>
                        <a:pt x="0" y="0"/>
                      </a:moveTo>
                      <a:lnTo>
                        <a:pt x="30502" y="0"/>
                      </a:lnTo>
                      <a:lnTo>
                        <a:pt x="30502"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4" name="Freeform: Shape 118">
                  <a:extLst>
                    <a:ext uri="{FF2B5EF4-FFF2-40B4-BE49-F238E27FC236}">
                      <a16:creationId xmlns:a16="http://schemas.microsoft.com/office/drawing/2014/main" id="{A02FBC69-0DF3-F940-8380-B0D1E8D5B983}"/>
                    </a:ext>
                  </a:extLst>
                </p:cNvPr>
                <p:cNvSpPr/>
                <p:nvPr/>
              </p:nvSpPr>
              <p:spPr>
                <a:xfrm>
                  <a:off x="7062119" y="2393996"/>
                  <a:ext cx="97342" cy="2863"/>
                </a:xfrm>
                <a:custGeom>
                  <a:avLst/>
                  <a:gdLst>
                    <a:gd name="connsiteX0" fmla="*/ 0 w 97342"/>
                    <a:gd name="connsiteY0" fmla="*/ 0 h 2863"/>
                    <a:gd name="connsiteX1" fmla="*/ 97343 w 97342"/>
                    <a:gd name="connsiteY1" fmla="*/ 0 h 2863"/>
                    <a:gd name="connsiteX2" fmla="*/ 97343 w 97342"/>
                    <a:gd name="connsiteY2" fmla="*/ 2863 h 2863"/>
                    <a:gd name="connsiteX3" fmla="*/ 0 w 97342"/>
                    <a:gd name="connsiteY3" fmla="*/ 2863 h 2863"/>
                  </a:gdLst>
                  <a:ahLst/>
                  <a:cxnLst>
                    <a:cxn ang="0">
                      <a:pos x="connsiteX0" y="connsiteY0"/>
                    </a:cxn>
                    <a:cxn ang="0">
                      <a:pos x="connsiteX1" y="connsiteY1"/>
                    </a:cxn>
                    <a:cxn ang="0">
                      <a:pos x="connsiteX2" y="connsiteY2"/>
                    </a:cxn>
                    <a:cxn ang="0">
                      <a:pos x="connsiteX3" y="connsiteY3"/>
                    </a:cxn>
                  </a:cxnLst>
                  <a:rect l="l" t="t" r="r" b="b"/>
                  <a:pathLst>
                    <a:path w="97342" h="2863">
                      <a:moveTo>
                        <a:pt x="0" y="0"/>
                      </a:moveTo>
                      <a:lnTo>
                        <a:pt x="97343" y="0"/>
                      </a:lnTo>
                      <a:lnTo>
                        <a:pt x="97343"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5" name="Freeform: Shape 137">
                  <a:extLst>
                    <a:ext uri="{FF2B5EF4-FFF2-40B4-BE49-F238E27FC236}">
                      <a16:creationId xmlns:a16="http://schemas.microsoft.com/office/drawing/2014/main" id="{1DF448B7-BB35-0E4E-854E-40210E376BF7}"/>
                    </a:ext>
                  </a:extLst>
                </p:cNvPr>
                <p:cNvSpPr/>
                <p:nvPr/>
              </p:nvSpPr>
              <p:spPr>
                <a:xfrm>
                  <a:off x="7014549" y="2419488"/>
                  <a:ext cx="158842" cy="2863"/>
                </a:xfrm>
                <a:custGeom>
                  <a:avLst/>
                  <a:gdLst>
                    <a:gd name="connsiteX0" fmla="*/ 0 w 158842"/>
                    <a:gd name="connsiteY0" fmla="*/ 0 h 2863"/>
                    <a:gd name="connsiteX1" fmla="*/ 158843 w 158842"/>
                    <a:gd name="connsiteY1" fmla="*/ 0 h 2863"/>
                    <a:gd name="connsiteX2" fmla="*/ 158843 w 158842"/>
                    <a:gd name="connsiteY2" fmla="*/ 2863 h 2863"/>
                    <a:gd name="connsiteX3" fmla="*/ 0 w 158842"/>
                    <a:gd name="connsiteY3" fmla="*/ 2863 h 2863"/>
                  </a:gdLst>
                  <a:ahLst/>
                  <a:cxnLst>
                    <a:cxn ang="0">
                      <a:pos x="connsiteX0" y="connsiteY0"/>
                    </a:cxn>
                    <a:cxn ang="0">
                      <a:pos x="connsiteX1" y="connsiteY1"/>
                    </a:cxn>
                    <a:cxn ang="0">
                      <a:pos x="connsiteX2" y="connsiteY2"/>
                    </a:cxn>
                    <a:cxn ang="0">
                      <a:pos x="connsiteX3" y="connsiteY3"/>
                    </a:cxn>
                  </a:cxnLst>
                  <a:rect l="l" t="t" r="r" b="b"/>
                  <a:pathLst>
                    <a:path w="158842" h="2863">
                      <a:moveTo>
                        <a:pt x="0" y="0"/>
                      </a:moveTo>
                      <a:lnTo>
                        <a:pt x="158843" y="0"/>
                      </a:lnTo>
                      <a:lnTo>
                        <a:pt x="158843"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6" name="Freeform: Shape 140">
                  <a:extLst>
                    <a:ext uri="{FF2B5EF4-FFF2-40B4-BE49-F238E27FC236}">
                      <a16:creationId xmlns:a16="http://schemas.microsoft.com/office/drawing/2014/main" id="{5E10252D-CF07-2348-AD69-DB1AD33B483E}"/>
                    </a:ext>
                  </a:extLst>
                </p:cNvPr>
                <p:cNvSpPr/>
                <p:nvPr/>
              </p:nvSpPr>
              <p:spPr>
                <a:xfrm>
                  <a:off x="6969787" y="2443384"/>
                  <a:ext cx="225573" cy="2863"/>
                </a:xfrm>
                <a:custGeom>
                  <a:avLst/>
                  <a:gdLst>
                    <a:gd name="connsiteX0" fmla="*/ 0 w 225573"/>
                    <a:gd name="connsiteY0" fmla="*/ 0 h 2863"/>
                    <a:gd name="connsiteX1" fmla="*/ 225573 w 225573"/>
                    <a:gd name="connsiteY1" fmla="*/ 0 h 2863"/>
                    <a:gd name="connsiteX2" fmla="*/ 225573 w 225573"/>
                    <a:gd name="connsiteY2" fmla="*/ 2863 h 2863"/>
                    <a:gd name="connsiteX3" fmla="*/ 0 w 225573"/>
                    <a:gd name="connsiteY3" fmla="*/ 2863 h 2863"/>
                  </a:gdLst>
                  <a:ahLst/>
                  <a:cxnLst>
                    <a:cxn ang="0">
                      <a:pos x="connsiteX0" y="connsiteY0"/>
                    </a:cxn>
                    <a:cxn ang="0">
                      <a:pos x="connsiteX1" y="connsiteY1"/>
                    </a:cxn>
                    <a:cxn ang="0">
                      <a:pos x="connsiteX2" y="connsiteY2"/>
                    </a:cxn>
                    <a:cxn ang="0">
                      <a:pos x="connsiteX3" y="connsiteY3"/>
                    </a:cxn>
                  </a:cxnLst>
                  <a:rect l="l" t="t" r="r" b="b"/>
                  <a:pathLst>
                    <a:path w="225573" h="2863">
                      <a:moveTo>
                        <a:pt x="0" y="0"/>
                      </a:moveTo>
                      <a:lnTo>
                        <a:pt x="225573" y="0"/>
                      </a:lnTo>
                      <a:lnTo>
                        <a:pt x="225573" y="2863"/>
                      </a:lnTo>
                      <a:lnTo>
                        <a:pt x="0" y="2863"/>
                      </a:lnTo>
                      <a:close/>
                    </a:path>
                  </a:pathLst>
                </a:custGeom>
                <a:grpFill/>
                <a:ln w="5492"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grpSp>
            <p:nvGrpSpPr>
              <p:cNvPr id="44" name="Group 43">
                <a:extLst>
                  <a:ext uri="{FF2B5EF4-FFF2-40B4-BE49-F238E27FC236}">
                    <a16:creationId xmlns:a16="http://schemas.microsoft.com/office/drawing/2014/main" id="{F445A4A5-FB1E-A448-916C-D41122FE7320}"/>
                  </a:ext>
                </a:extLst>
              </p:cNvPr>
              <p:cNvGrpSpPr/>
              <p:nvPr/>
            </p:nvGrpSpPr>
            <p:grpSpPr>
              <a:xfrm>
                <a:off x="6698224" y="2121965"/>
                <a:ext cx="424093" cy="304510"/>
                <a:chOff x="2660666" y="2759416"/>
                <a:chExt cx="1085186" cy="779193"/>
              </a:xfrm>
            </p:grpSpPr>
            <p:sp>
              <p:nvSpPr>
                <p:cNvPr id="91" name="Freeform: Shape 61">
                  <a:extLst>
                    <a:ext uri="{FF2B5EF4-FFF2-40B4-BE49-F238E27FC236}">
                      <a16:creationId xmlns:a16="http://schemas.microsoft.com/office/drawing/2014/main" id="{B5F14D77-1D3C-1F44-971E-182C01418D00}"/>
                    </a:ext>
                  </a:extLst>
                </p:cNvPr>
                <p:cNvSpPr/>
                <p:nvPr/>
              </p:nvSpPr>
              <p:spPr>
                <a:xfrm>
                  <a:off x="2660666" y="2810932"/>
                  <a:ext cx="1021153" cy="727677"/>
                </a:xfrm>
                <a:custGeom>
                  <a:avLst/>
                  <a:gdLst>
                    <a:gd name="connsiteX0" fmla="*/ 559995 w 1021153"/>
                    <a:gd name="connsiteY0" fmla="*/ 0 h 727678"/>
                    <a:gd name="connsiteX1" fmla="*/ 817530 w 1021153"/>
                    <a:gd name="connsiteY1" fmla="*/ 172405 h 727678"/>
                    <a:gd name="connsiteX2" fmla="*/ 818388 w 1021153"/>
                    <a:gd name="connsiteY2" fmla="*/ 175410 h 727678"/>
                    <a:gd name="connsiteX3" fmla="*/ 850437 w 1021153"/>
                    <a:gd name="connsiteY3" fmla="*/ 185425 h 727678"/>
                    <a:gd name="connsiteX4" fmla="*/ 997920 w 1021153"/>
                    <a:gd name="connsiteY4" fmla="*/ 557050 h 727678"/>
                    <a:gd name="connsiteX5" fmla="*/ 741414 w 1021153"/>
                    <a:gd name="connsiteY5" fmla="*/ 727678 h 727678"/>
                    <a:gd name="connsiteX6" fmla="*/ 525514 w 1021153"/>
                    <a:gd name="connsiteY6" fmla="*/ 624951 h 727678"/>
                    <a:gd name="connsiteX7" fmla="*/ 512208 w 1021153"/>
                    <a:gd name="connsiteY7" fmla="*/ 602774 h 727678"/>
                    <a:gd name="connsiteX8" fmla="*/ 512208 w 1021153"/>
                    <a:gd name="connsiteY8" fmla="*/ 602774 h 727678"/>
                    <a:gd name="connsiteX9" fmla="*/ 121926 w 1021153"/>
                    <a:gd name="connsiteY9" fmla="*/ 675429 h 727678"/>
                    <a:gd name="connsiteX10" fmla="*/ 49270 w 1021153"/>
                    <a:gd name="connsiteY10" fmla="*/ 285147 h 727678"/>
                    <a:gd name="connsiteX11" fmla="*/ 280141 w 1021153"/>
                    <a:gd name="connsiteY11" fmla="*/ 163248 h 727678"/>
                    <a:gd name="connsiteX12" fmla="*/ 305608 w 1021153"/>
                    <a:gd name="connsiteY12" fmla="*/ 165824 h 727678"/>
                    <a:gd name="connsiteX13" fmla="*/ 327928 w 1021153"/>
                    <a:gd name="connsiteY13" fmla="*/ 124475 h 727678"/>
                    <a:gd name="connsiteX14" fmla="*/ 559995 w 1021153"/>
                    <a:gd name="connsiteY14" fmla="*/ 0 h 72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1153" h="727678">
                      <a:moveTo>
                        <a:pt x="559995" y="0"/>
                      </a:moveTo>
                      <a:cubicBezTo>
                        <a:pt x="672729" y="351"/>
                        <a:pt x="774247" y="68311"/>
                        <a:pt x="817530" y="172405"/>
                      </a:cubicBezTo>
                      <a:lnTo>
                        <a:pt x="818388" y="175410"/>
                      </a:lnTo>
                      <a:lnTo>
                        <a:pt x="850437" y="185425"/>
                      </a:lnTo>
                      <a:cubicBezTo>
                        <a:pt x="993785" y="247321"/>
                        <a:pt x="1059815" y="413702"/>
                        <a:pt x="997920" y="557050"/>
                      </a:cubicBezTo>
                      <a:cubicBezTo>
                        <a:pt x="953637" y="659608"/>
                        <a:pt x="853117" y="726474"/>
                        <a:pt x="741414" y="727678"/>
                      </a:cubicBezTo>
                      <a:cubicBezTo>
                        <a:pt x="657655" y="727673"/>
                        <a:pt x="578353" y="689940"/>
                        <a:pt x="525514" y="624951"/>
                      </a:cubicBezTo>
                      <a:lnTo>
                        <a:pt x="512208" y="602774"/>
                      </a:lnTo>
                      <a:lnTo>
                        <a:pt x="512208" y="602774"/>
                      </a:lnTo>
                      <a:cubicBezTo>
                        <a:pt x="424498" y="730612"/>
                        <a:pt x="249762" y="763140"/>
                        <a:pt x="121926" y="675429"/>
                      </a:cubicBezTo>
                      <a:cubicBezTo>
                        <a:pt x="-5911" y="587718"/>
                        <a:pt x="-38440" y="412984"/>
                        <a:pt x="49270" y="285147"/>
                      </a:cubicBezTo>
                      <a:cubicBezTo>
                        <a:pt x="101500" y="209022"/>
                        <a:pt x="187822" y="163446"/>
                        <a:pt x="280141" y="163248"/>
                      </a:cubicBezTo>
                      <a:lnTo>
                        <a:pt x="305608" y="165824"/>
                      </a:lnTo>
                      <a:lnTo>
                        <a:pt x="327928" y="124475"/>
                      </a:lnTo>
                      <a:cubicBezTo>
                        <a:pt x="379568" y="46750"/>
                        <a:pt x="466679" y="26"/>
                        <a:pt x="559995" y="0"/>
                      </a:cubicBezTo>
                      <a:close/>
                    </a:path>
                  </a:pathLst>
                </a:custGeom>
                <a:noFill/>
                <a:ln w="7144" cap="flat">
                  <a:solidFill>
                    <a:srgbClr val="0D274D"/>
                  </a:solidFill>
                  <a:prstDash val="solid"/>
                  <a:round/>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sp>
              <p:nvSpPr>
                <p:cNvPr id="92" name="Freeform: Shape 62">
                  <a:extLst>
                    <a:ext uri="{FF2B5EF4-FFF2-40B4-BE49-F238E27FC236}">
                      <a16:creationId xmlns:a16="http://schemas.microsoft.com/office/drawing/2014/main" id="{6ECA5079-61A4-374A-9108-65ED0659A32C}"/>
                    </a:ext>
                  </a:extLst>
                </p:cNvPr>
                <p:cNvSpPr/>
                <p:nvPr/>
              </p:nvSpPr>
              <p:spPr>
                <a:xfrm>
                  <a:off x="2704342" y="2759416"/>
                  <a:ext cx="1041510" cy="742702"/>
                </a:xfrm>
                <a:custGeom>
                  <a:avLst/>
                  <a:gdLst>
                    <a:gd name="connsiteX0" fmla="*/ 570184 w 1041510"/>
                    <a:gd name="connsiteY0" fmla="*/ 0 h 742701"/>
                    <a:gd name="connsiteX1" fmla="*/ 833299 w 1041510"/>
                    <a:gd name="connsiteY1" fmla="*/ 175982 h 742701"/>
                    <a:gd name="connsiteX2" fmla="*/ 834157 w 1041510"/>
                    <a:gd name="connsiteY2" fmla="*/ 178987 h 742701"/>
                    <a:gd name="connsiteX3" fmla="*/ 866921 w 1041510"/>
                    <a:gd name="connsiteY3" fmla="*/ 189288 h 742701"/>
                    <a:gd name="connsiteX4" fmla="*/ 1017985 w 1041510"/>
                    <a:gd name="connsiteY4" fmla="*/ 568199 h 742701"/>
                    <a:gd name="connsiteX5" fmla="*/ 755752 w 1041510"/>
                    <a:gd name="connsiteY5" fmla="*/ 742701 h 742701"/>
                    <a:gd name="connsiteX6" fmla="*/ 535274 w 1041510"/>
                    <a:gd name="connsiteY6" fmla="*/ 637828 h 742701"/>
                    <a:gd name="connsiteX7" fmla="*/ 521682 w 1041510"/>
                    <a:gd name="connsiteY7" fmla="*/ 615222 h 742701"/>
                    <a:gd name="connsiteX8" fmla="*/ 521682 w 1041510"/>
                    <a:gd name="connsiteY8" fmla="*/ 615222 h 742701"/>
                    <a:gd name="connsiteX9" fmla="*/ 123638 w 1041510"/>
                    <a:gd name="connsiteY9" fmla="*/ 688190 h 742701"/>
                    <a:gd name="connsiteX10" fmla="*/ 50670 w 1041510"/>
                    <a:gd name="connsiteY10" fmla="*/ 290146 h 742701"/>
                    <a:gd name="connsiteX11" fmla="*/ 284464 w 1041510"/>
                    <a:gd name="connsiteY11" fmla="*/ 166539 h 742701"/>
                    <a:gd name="connsiteX12" fmla="*/ 311362 w 1041510"/>
                    <a:gd name="connsiteY12" fmla="*/ 169257 h 742701"/>
                    <a:gd name="connsiteX13" fmla="*/ 333968 w 1041510"/>
                    <a:gd name="connsiteY13" fmla="*/ 127050 h 742701"/>
                    <a:gd name="connsiteX14" fmla="*/ 570184 w 1041510"/>
                    <a:gd name="connsiteY14" fmla="*/ 0 h 74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510" h="742701">
                      <a:moveTo>
                        <a:pt x="570184" y="0"/>
                      </a:moveTo>
                      <a:cubicBezTo>
                        <a:pt x="685303" y="393"/>
                        <a:pt x="788978" y="69735"/>
                        <a:pt x="833299" y="175982"/>
                      </a:cubicBezTo>
                      <a:lnTo>
                        <a:pt x="834157" y="178987"/>
                      </a:lnTo>
                      <a:lnTo>
                        <a:pt x="866921" y="189288"/>
                      </a:lnTo>
                      <a:cubicBezTo>
                        <a:pt x="1013269" y="252207"/>
                        <a:pt x="1080904" y="421850"/>
                        <a:pt x="1017985" y="568199"/>
                      </a:cubicBezTo>
                      <a:cubicBezTo>
                        <a:pt x="972855" y="673173"/>
                        <a:pt x="870012" y="741610"/>
                        <a:pt x="755752" y="742701"/>
                      </a:cubicBezTo>
                      <a:cubicBezTo>
                        <a:pt x="670212" y="742749"/>
                        <a:pt x="589210" y="704220"/>
                        <a:pt x="535274" y="637828"/>
                      </a:cubicBezTo>
                      <a:lnTo>
                        <a:pt x="521682" y="615222"/>
                      </a:lnTo>
                      <a:lnTo>
                        <a:pt x="521682" y="615222"/>
                      </a:lnTo>
                      <a:cubicBezTo>
                        <a:pt x="431914" y="745288"/>
                        <a:pt x="253704" y="777956"/>
                        <a:pt x="123638" y="688190"/>
                      </a:cubicBezTo>
                      <a:cubicBezTo>
                        <a:pt x="-6428" y="598422"/>
                        <a:pt x="-39097" y="420212"/>
                        <a:pt x="50670" y="290146"/>
                      </a:cubicBezTo>
                      <a:cubicBezTo>
                        <a:pt x="103746" y="213243"/>
                        <a:pt x="191026" y="167099"/>
                        <a:pt x="284464" y="166539"/>
                      </a:cubicBezTo>
                      <a:lnTo>
                        <a:pt x="311362" y="169257"/>
                      </a:lnTo>
                      <a:lnTo>
                        <a:pt x="333968" y="127050"/>
                      </a:lnTo>
                      <a:cubicBezTo>
                        <a:pt x="386596" y="47962"/>
                        <a:pt x="475187" y="313"/>
                        <a:pt x="570184" y="0"/>
                      </a:cubicBezTo>
                      <a:close/>
                    </a:path>
                  </a:pathLst>
                </a:custGeom>
                <a:solidFill>
                  <a:srgbClr val="00BCEB">
                    <a:alpha val="80000"/>
                  </a:srgbClr>
                </a:solidFill>
                <a:ln w="14288"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mj-lt"/>
                    <a:ea typeface="ＭＳ Ｐゴシック" charset="0"/>
                  </a:endParaRPr>
                </a:p>
              </p:txBody>
            </p:sp>
          </p:grpSp>
          <p:sp>
            <p:nvSpPr>
              <p:cNvPr id="45" name="Oval 44">
                <a:extLst>
                  <a:ext uri="{FF2B5EF4-FFF2-40B4-BE49-F238E27FC236}">
                    <a16:creationId xmlns:a16="http://schemas.microsoft.com/office/drawing/2014/main" id="{1C0BCEA5-7F7C-424F-B3AF-B2931ACD7520}"/>
                  </a:ext>
                </a:extLst>
              </p:cNvPr>
              <p:cNvSpPr>
                <a:spLocks noChangeAspect="1"/>
              </p:cNvSpPr>
              <p:nvPr/>
            </p:nvSpPr>
            <p:spPr>
              <a:xfrm>
                <a:off x="4428095" y="2393322"/>
                <a:ext cx="298079" cy="298245"/>
              </a:xfrm>
              <a:prstGeom prst="ellipse">
                <a:avLst/>
              </a:prstGeom>
              <a:solidFill>
                <a:srgbClr val="00BCEB">
                  <a:alpha val="66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46" name="Oval 45">
                <a:extLst>
                  <a:ext uri="{FF2B5EF4-FFF2-40B4-BE49-F238E27FC236}">
                    <a16:creationId xmlns:a16="http://schemas.microsoft.com/office/drawing/2014/main" id="{9F92737C-F707-3A4C-A3BB-65CA635BCA91}"/>
                  </a:ext>
                </a:extLst>
              </p:cNvPr>
              <p:cNvSpPr>
                <a:spLocks noChangeAspect="1"/>
              </p:cNvSpPr>
              <p:nvPr/>
            </p:nvSpPr>
            <p:spPr>
              <a:xfrm>
                <a:off x="6448654" y="547921"/>
                <a:ext cx="298079" cy="298245"/>
              </a:xfrm>
              <a:prstGeom prst="ellipse">
                <a:avLst/>
              </a:prstGeom>
              <a:solidFill>
                <a:srgbClr val="9E9EA2">
                  <a:alpha val="66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sp>
            <p:nvSpPr>
              <p:cNvPr id="47" name="Rectangle 46">
                <a:extLst>
                  <a:ext uri="{FF2B5EF4-FFF2-40B4-BE49-F238E27FC236}">
                    <a16:creationId xmlns:a16="http://schemas.microsoft.com/office/drawing/2014/main" id="{88786CF3-94E5-F04B-80ED-39CE997C48F7}"/>
                  </a:ext>
                </a:extLst>
              </p:cNvPr>
              <p:cNvSpPr/>
              <p:nvPr/>
            </p:nvSpPr>
            <p:spPr>
              <a:xfrm rot="5400000">
                <a:off x="6140222" y="2528521"/>
                <a:ext cx="64533" cy="331813"/>
              </a:xfrm>
              <a:prstGeom prst="rect">
                <a:avLst/>
              </a:prstGeom>
              <a:solidFill>
                <a:srgbClr val="9E9EA2">
                  <a:lumMod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mj-lt"/>
                  <a:ea typeface="+mn-ea"/>
                  <a:cs typeface="+mn-cs"/>
                </a:endParaRPr>
              </a:p>
            </p:txBody>
          </p:sp>
          <p:grpSp>
            <p:nvGrpSpPr>
              <p:cNvPr id="48" name="Graphic 1">
                <a:extLst>
                  <a:ext uri="{FF2B5EF4-FFF2-40B4-BE49-F238E27FC236}">
                    <a16:creationId xmlns:a16="http://schemas.microsoft.com/office/drawing/2014/main" id="{149FAE6A-3251-9844-AB68-81F23C0684CC}"/>
                  </a:ext>
                </a:extLst>
              </p:cNvPr>
              <p:cNvGrpSpPr/>
              <p:nvPr/>
            </p:nvGrpSpPr>
            <p:grpSpPr>
              <a:xfrm>
                <a:off x="4596499" y="629899"/>
                <a:ext cx="888743" cy="888945"/>
                <a:chOff x="3453884" y="801171"/>
                <a:chExt cx="2092880" cy="2093357"/>
              </a:xfrm>
              <a:solidFill>
                <a:srgbClr val="6CBD4B"/>
              </a:solidFill>
            </p:grpSpPr>
            <p:sp>
              <p:nvSpPr>
                <p:cNvPr id="69" name="Freeform: Shape 116">
                  <a:extLst>
                    <a:ext uri="{FF2B5EF4-FFF2-40B4-BE49-F238E27FC236}">
                      <a16:creationId xmlns:a16="http://schemas.microsoft.com/office/drawing/2014/main" id="{71262A7C-8D23-C645-8DD0-6A6CD4032A8E}"/>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0" name="Freeform: Shape 119">
                  <a:extLst>
                    <a:ext uri="{FF2B5EF4-FFF2-40B4-BE49-F238E27FC236}">
                      <a16:creationId xmlns:a16="http://schemas.microsoft.com/office/drawing/2014/main" id="{04B65020-3697-944D-AB87-FD319CFEB9DA}"/>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1" name="Freeform: Shape 141">
                  <a:extLst>
                    <a:ext uri="{FF2B5EF4-FFF2-40B4-BE49-F238E27FC236}">
                      <a16:creationId xmlns:a16="http://schemas.microsoft.com/office/drawing/2014/main" id="{44E0E8DE-30A0-C143-A592-75E073D75077}"/>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2" name="Freeform: Shape 142">
                  <a:extLst>
                    <a:ext uri="{FF2B5EF4-FFF2-40B4-BE49-F238E27FC236}">
                      <a16:creationId xmlns:a16="http://schemas.microsoft.com/office/drawing/2014/main" id="{59B6646B-6861-764C-ADBC-BA64FA15CCCB}"/>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3" name="Freeform: Shape 143">
                  <a:extLst>
                    <a:ext uri="{FF2B5EF4-FFF2-40B4-BE49-F238E27FC236}">
                      <a16:creationId xmlns:a16="http://schemas.microsoft.com/office/drawing/2014/main" id="{D5088E3C-DE95-1B4E-8494-6D6B9FDDE166}"/>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4" name="Freeform: Shape 144">
                  <a:extLst>
                    <a:ext uri="{FF2B5EF4-FFF2-40B4-BE49-F238E27FC236}">
                      <a16:creationId xmlns:a16="http://schemas.microsoft.com/office/drawing/2014/main" id="{DC5EE72B-AE88-E941-9086-A7EC4CA45A6A}"/>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5" name="Freeform: Shape 145">
                  <a:extLst>
                    <a:ext uri="{FF2B5EF4-FFF2-40B4-BE49-F238E27FC236}">
                      <a16:creationId xmlns:a16="http://schemas.microsoft.com/office/drawing/2014/main" id="{D71BEDE6-E86B-E04B-9A6D-EC16ACF9E7F1}"/>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6" name="Freeform: Shape 146">
                  <a:extLst>
                    <a:ext uri="{FF2B5EF4-FFF2-40B4-BE49-F238E27FC236}">
                      <a16:creationId xmlns:a16="http://schemas.microsoft.com/office/drawing/2014/main" id="{34862909-DA82-3E4F-91D3-6CDAB235531F}"/>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7" name="Freeform: Shape 147">
                  <a:extLst>
                    <a:ext uri="{FF2B5EF4-FFF2-40B4-BE49-F238E27FC236}">
                      <a16:creationId xmlns:a16="http://schemas.microsoft.com/office/drawing/2014/main" id="{985223F2-B255-3244-94EE-0AC8BA7F09C0}"/>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8" name="Freeform: Shape 148">
                  <a:extLst>
                    <a:ext uri="{FF2B5EF4-FFF2-40B4-BE49-F238E27FC236}">
                      <a16:creationId xmlns:a16="http://schemas.microsoft.com/office/drawing/2014/main" id="{40E2B4DE-06A5-7B43-B7D6-CB351B42D46F}"/>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79" name="Freeform: Shape 149">
                  <a:extLst>
                    <a:ext uri="{FF2B5EF4-FFF2-40B4-BE49-F238E27FC236}">
                      <a16:creationId xmlns:a16="http://schemas.microsoft.com/office/drawing/2014/main" id="{4D251B99-0AB7-E341-B2CE-698E0D676623}"/>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0" name="Freeform: Shape 150">
                  <a:extLst>
                    <a:ext uri="{FF2B5EF4-FFF2-40B4-BE49-F238E27FC236}">
                      <a16:creationId xmlns:a16="http://schemas.microsoft.com/office/drawing/2014/main" id="{63EABEAC-6765-B54D-ACD6-04287589792A}"/>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1" name="Freeform: Shape 151">
                  <a:extLst>
                    <a:ext uri="{FF2B5EF4-FFF2-40B4-BE49-F238E27FC236}">
                      <a16:creationId xmlns:a16="http://schemas.microsoft.com/office/drawing/2014/main" id="{06EC7DFA-DE61-8044-A4A6-E925B915E041}"/>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2" name="Freeform: Shape 152">
                  <a:extLst>
                    <a:ext uri="{FF2B5EF4-FFF2-40B4-BE49-F238E27FC236}">
                      <a16:creationId xmlns:a16="http://schemas.microsoft.com/office/drawing/2014/main" id="{B6BD8B6D-4A22-3745-A498-FBF1D6FABC72}"/>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3" name="Freeform: Shape 153">
                  <a:extLst>
                    <a:ext uri="{FF2B5EF4-FFF2-40B4-BE49-F238E27FC236}">
                      <a16:creationId xmlns:a16="http://schemas.microsoft.com/office/drawing/2014/main" id="{52FADFFE-501B-BC40-990E-39D815D2BA8F}"/>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4" name="Freeform: Shape 154">
                  <a:extLst>
                    <a:ext uri="{FF2B5EF4-FFF2-40B4-BE49-F238E27FC236}">
                      <a16:creationId xmlns:a16="http://schemas.microsoft.com/office/drawing/2014/main" id="{28157E9E-1526-404F-8C66-37668298132F}"/>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5" name="Freeform: Shape 155">
                  <a:extLst>
                    <a:ext uri="{FF2B5EF4-FFF2-40B4-BE49-F238E27FC236}">
                      <a16:creationId xmlns:a16="http://schemas.microsoft.com/office/drawing/2014/main" id="{5D4976B1-8FA3-824D-BB31-7759FE2EB572}"/>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6" name="Freeform: Shape 156">
                  <a:extLst>
                    <a:ext uri="{FF2B5EF4-FFF2-40B4-BE49-F238E27FC236}">
                      <a16:creationId xmlns:a16="http://schemas.microsoft.com/office/drawing/2014/main" id="{09DE2EA9-020E-694A-BC0D-10D53EA3F1DA}"/>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7" name="Freeform: Shape 157">
                  <a:extLst>
                    <a:ext uri="{FF2B5EF4-FFF2-40B4-BE49-F238E27FC236}">
                      <a16:creationId xmlns:a16="http://schemas.microsoft.com/office/drawing/2014/main" id="{DABC0BDA-23D8-CA44-A436-B67E62D1F20A}"/>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8" name="Freeform: Shape 158">
                  <a:extLst>
                    <a:ext uri="{FF2B5EF4-FFF2-40B4-BE49-F238E27FC236}">
                      <a16:creationId xmlns:a16="http://schemas.microsoft.com/office/drawing/2014/main" id="{E433CD7D-C5EA-3B4C-8923-EA770495765B}"/>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89" name="Freeform: Shape 159">
                  <a:extLst>
                    <a:ext uri="{FF2B5EF4-FFF2-40B4-BE49-F238E27FC236}">
                      <a16:creationId xmlns:a16="http://schemas.microsoft.com/office/drawing/2014/main" id="{877BA197-70FA-2F48-B33B-CF5DB3D17421}"/>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90" name="Freeform: Shape 160">
                  <a:extLst>
                    <a:ext uri="{FF2B5EF4-FFF2-40B4-BE49-F238E27FC236}">
                      <a16:creationId xmlns:a16="http://schemas.microsoft.com/office/drawing/2014/main" id="{40BDD148-2010-EF4E-A125-1297BAC32230}"/>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solidFill>
                  <a:srgbClr val="6CBD4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grpSp>
          <p:sp>
            <p:nvSpPr>
              <p:cNvPr id="49" name="Freeform: Shape 82">
                <a:extLst>
                  <a:ext uri="{FF2B5EF4-FFF2-40B4-BE49-F238E27FC236}">
                    <a16:creationId xmlns:a16="http://schemas.microsoft.com/office/drawing/2014/main" id="{C4E4556A-0341-A448-BB5C-FA0D2C3B5A40}"/>
                  </a:ext>
                </a:extLst>
              </p:cNvPr>
              <p:cNvSpPr/>
              <p:nvPr/>
            </p:nvSpPr>
            <p:spPr>
              <a:xfrm>
                <a:off x="5435792" y="1241109"/>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0" name="Freeform: Shape 84">
                <a:extLst>
                  <a:ext uri="{FF2B5EF4-FFF2-40B4-BE49-F238E27FC236}">
                    <a16:creationId xmlns:a16="http://schemas.microsoft.com/office/drawing/2014/main" id="{F0BEDB2D-0756-5F48-A6CB-556780714FCD}"/>
                  </a:ext>
                </a:extLst>
              </p:cNvPr>
              <p:cNvSpPr/>
              <p:nvPr/>
            </p:nvSpPr>
            <p:spPr>
              <a:xfrm>
                <a:off x="5192093" y="1241109"/>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E2231A"/>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1" name="Freeform: Shape 85">
                <a:extLst>
                  <a:ext uri="{FF2B5EF4-FFF2-40B4-BE49-F238E27FC236}">
                    <a16:creationId xmlns:a16="http://schemas.microsoft.com/office/drawing/2014/main" id="{217A1E93-5153-0E47-A681-3AF0E51B0FF9}"/>
                  </a:ext>
                </a:extLst>
              </p:cNvPr>
              <p:cNvSpPr/>
              <p:nvPr/>
            </p:nvSpPr>
            <p:spPr>
              <a:xfrm>
                <a:off x="5192093" y="1364273"/>
                <a:ext cx="37616" cy="37616"/>
              </a:xfrm>
              <a:custGeom>
                <a:avLst/>
                <a:gdLst>
                  <a:gd name="connsiteX0" fmla="*/ 88582 w 88582"/>
                  <a:gd name="connsiteY0" fmla="*/ 44291 h 88582"/>
                  <a:gd name="connsiteX1" fmla="*/ 44291 w 88582"/>
                  <a:gd name="connsiteY1" fmla="*/ 88583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3"/>
                      <a:pt x="44291" y="88583"/>
                    </a:cubicBezTo>
                    <a:cubicBezTo>
                      <a:pt x="19829" y="88583"/>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2" name="Freeform: Shape 86">
                <a:extLst>
                  <a:ext uri="{FF2B5EF4-FFF2-40B4-BE49-F238E27FC236}">
                    <a16:creationId xmlns:a16="http://schemas.microsoft.com/office/drawing/2014/main" id="{E74C1C2C-A328-074C-9F0B-86FFC9364143}"/>
                  </a:ext>
                </a:extLst>
              </p:cNvPr>
              <p:cNvSpPr/>
              <p:nvPr/>
            </p:nvSpPr>
            <p:spPr>
              <a:xfrm>
                <a:off x="5070345" y="1493908"/>
                <a:ext cx="37616" cy="3761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3" name="Freeform: Shape 88">
                <a:extLst>
                  <a:ext uri="{FF2B5EF4-FFF2-40B4-BE49-F238E27FC236}">
                    <a16:creationId xmlns:a16="http://schemas.microsoft.com/office/drawing/2014/main" id="{C42D02F4-A326-A048-A03E-BAAEB558BA4D}"/>
                  </a:ext>
                </a:extLst>
              </p:cNvPr>
              <p:cNvSpPr/>
              <p:nvPr/>
            </p:nvSpPr>
            <p:spPr>
              <a:xfrm>
                <a:off x="4937069" y="1490268"/>
                <a:ext cx="37616" cy="37616"/>
              </a:xfrm>
              <a:custGeom>
                <a:avLst/>
                <a:gdLst>
                  <a:gd name="connsiteX0" fmla="*/ 88582 w 88582"/>
                  <a:gd name="connsiteY0" fmla="*/ 44291 h 88582"/>
                  <a:gd name="connsiteX1" fmla="*/ 44291 w 88582"/>
                  <a:gd name="connsiteY1" fmla="*/ 88583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3"/>
                      <a:pt x="44291" y="88583"/>
                    </a:cubicBezTo>
                    <a:cubicBezTo>
                      <a:pt x="19830" y="88583"/>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4" name="Freeform: Shape 90">
                <a:extLst>
                  <a:ext uri="{FF2B5EF4-FFF2-40B4-BE49-F238E27FC236}">
                    <a16:creationId xmlns:a16="http://schemas.microsoft.com/office/drawing/2014/main" id="{FC2EEA17-9272-0041-B47A-8C5484F7E463}"/>
                  </a:ext>
                </a:extLst>
              </p:cNvPr>
              <p:cNvSpPr/>
              <p:nvPr/>
            </p:nvSpPr>
            <p:spPr>
              <a:xfrm>
                <a:off x="5192093" y="1115923"/>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5" name="Freeform: Shape 92">
                <a:extLst>
                  <a:ext uri="{FF2B5EF4-FFF2-40B4-BE49-F238E27FC236}">
                    <a16:creationId xmlns:a16="http://schemas.microsoft.com/office/drawing/2014/main" id="{7DCCEC15-3FA5-F341-969A-92FA2B48E0B3}"/>
                  </a:ext>
                </a:extLst>
              </p:cNvPr>
              <p:cNvSpPr/>
              <p:nvPr/>
            </p:nvSpPr>
            <p:spPr>
              <a:xfrm>
                <a:off x="5070345" y="1115923"/>
                <a:ext cx="37616" cy="3761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FBAB18"/>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6" name="Freeform: Shape 95">
                <a:extLst>
                  <a:ext uri="{FF2B5EF4-FFF2-40B4-BE49-F238E27FC236}">
                    <a16:creationId xmlns:a16="http://schemas.microsoft.com/office/drawing/2014/main" id="{D4232178-E180-C943-8492-D393CC65DEB8}"/>
                  </a:ext>
                </a:extLst>
              </p:cNvPr>
              <p:cNvSpPr/>
              <p:nvPr/>
            </p:nvSpPr>
            <p:spPr>
              <a:xfrm>
                <a:off x="4922710" y="1101563"/>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446 h 156209"/>
                  <a:gd name="connsiteX6" fmla="*/ 141922 w 156209"/>
                  <a:gd name="connsiteY6" fmla="*/ 77629 h 156209"/>
                  <a:gd name="connsiteX7" fmla="*/ 78105 w 156209"/>
                  <a:gd name="connsiteY7" fmla="*/ 13811 h 156209"/>
                  <a:gd name="connsiteX8" fmla="*/ 14288 w 156209"/>
                  <a:gd name="connsiteY8" fmla="*/ 77629 h 156209"/>
                  <a:gd name="connsiteX9" fmla="*/ 78105 w 156209"/>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5243" y="0"/>
                      <a:pt x="78105" y="0"/>
                    </a:cubicBezTo>
                    <a:close/>
                    <a:moveTo>
                      <a:pt x="78105" y="141446"/>
                    </a:moveTo>
                    <a:cubicBezTo>
                      <a:pt x="113347" y="141446"/>
                      <a:pt x="141922" y="112871"/>
                      <a:pt x="141922" y="77629"/>
                    </a:cubicBezTo>
                    <a:cubicBezTo>
                      <a:pt x="141922" y="42386"/>
                      <a:pt x="113347" y="13811"/>
                      <a:pt x="78105" y="13811"/>
                    </a:cubicBezTo>
                    <a:cubicBezTo>
                      <a:pt x="42863" y="13811"/>
                      <a:pt x="14288" y="42386"/>
                      <a:pt x="14288" y="77629"/>
                    </a:cubicBezTo>
                    <a:cubicBezTo>
                      <a:pt x="14288" y="112871"/>
                      <a:pt x="43339" y="141446"/>
                      <a:pt x="78105" y="141446"/>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7" name="Freeform: Shape 96">
                <a:extLst>
                  <a:ext uri="{FF2B5EF4-FFF2-40B4-BE49-F238E27FC236}">
                    <a16:creationId xmlns:a16="http://schemas.microsoft.com/office/drawing/2014/main" id="{C7AF561D-9ABC-D942-ABBF-76A86421E1D4}"/>
                  </a:ext>
                </a:extLst>
              </p:cNvPr>
              <p:cNvSpPr/>
              <p:nvPr/>
            </p:nvSpPr>
            <p:spPr>
              <a:xfrm>
                <a:off x="5055986"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5242"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2863" y="141923"/>
                      <a:pt x="78105" y="141923"/>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8" name="Freeform: Shape 97">
                <a:extLst>
                  <a:ext uri="{FF2B5EF4-FFF2-40B4-BE49-F238E27FC236}">
                    <a16:creationId xmlns:a16="http://schemas.microsoft.com/office/drawing/2014/main" id="{6B942DD3-63B9-6749-B09F-245683F962EA}"/>
                  </a:ext>
                </a:extLst>
              </p:cNvPr>
              <p:cNvSpPr/>
              <p:nvPr/>
            </p:nvSpPr>
            <p:spPr>
              <a:xfrm>
                <a:off x="5055986" y="1349914"/>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59" name="Freeform: Shape 98">
                <a:extLst>
                  <a:ext uri="{FF2B5EF4-FFF2-40B4-BE49-F238E27FC236}">
                    <a16:creationId xmlns:a16="http://schemas.microsoft.com/office/drawing/2014/main" id="{627D4D11-2C00-A442-A398-EC8DDECD0AE9}"/>
                  </a:ext>
                </a:extLst>
              </p:cNvPr>
              <p:cNvSpPr/>
              <p:nvPr/>
            </p:nvSpPr>
            <p:spPr>
              <a:xfrm>
                <a:off x="4922710"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5243"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3339" y="141923"/>
                      <a:pt x="78105" y="141923"/>
                    </a:cubicBezTo>
                    <a:close/>
                  </a:path>
                </a:pathLst>
              </a:custGeom>
              <a:solidFill>
                <a:srgbClr val="E2231A"/>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60" name="Freeform: Shape 99">
                <a:extLst>
                  <a:ext uri="{FF2B5EF4-FFF2-40B4-BE49-F238E27FC236}">
                    <a16:creationId xmlns:a16="http://schemas.microsoft.com/office/drawing/2014/main" id="{CD8F09D9-2E05-FB40-8659-E1B74B402206}"/>
                  </a:ext>
                </a:extLst>
              </p:cNvPr>
              <p:cNvSpPr/>
              <p:nvPr/>
            </p:nvSpPr>
            <p:spPr>
              <a:xfrm>
                <a:off x="5299684"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4766"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2863" y="141923"/>
                      <a:pt x="78105" y="141923"/>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61" name="Freeform: Shape 100">
                <a:extLst>
                  <a:ext uri="{FF2B5EF4-FFF2-40B4-BE49-F238E27FC236}">
                    <a16:creationId xmlns:a16="http://schemas.microsoft.com/office/drawing/2014/main" id="{5290D278-62A1-2149-B3D9-7E0335E21B64}"/>
                  </a:ext>
                </a:extLst>
              </p:cNvPr>
              <p:cNvSpPr/>
              <p:nvPr/>
            </p:nvSpPr>
            <p:spPr>
              <a:xfrm>
                <a:off x="5177734" y="1475909"/>
                <a:ext cx="66335" cy="66334"/>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446 h 156209"/>
                  <a:gd name="connsiteX6" fmla="*/ 141923 w 156210"/>
                  <a:gd name="connsiteY6" fmla="*/ 77629 h 156209"/>
                  <a:gd name="connsiteX7" fmla="*/ 78105 w 156210"/>
                  <a:gd name="connsiteY7" fmla="*/ 13811 h 156209"/>
                  <a:gd name="connsiteX8" fmla="*/ 14288 w 156210"/>
                  <a:gd name="connsiteY8" fmla="*/ 77629 h 156209"/>
                  <a:gd name="connsiteX9" fmla="*/ 78105 w 156210"/>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3"/>
                      <a:pt x="156210" y="78105"/>
                    </a:cubicBezTo>
                    <a:cubicBezTo>
                      <a:pt x="156210" y="120968"/>
                      <a:pt x="120968" y="156210"/>
                      <a:pt x="78105" y="156210"/>
                    </a:cubicBezTo>
                    <a:cubicBezTo>
                      <a:pt x="35243" y="156210"/>
                      <a:pt x="0" y="120968"/>
                      <a:pt x="0" y="78105"/>
                    </a:cubicBezTo>
                    <a:cubicBezTo>
                      <a:pt x="0" y="35243"/>
                      <a:pt x="35243" y="0"/>
                      <a:pt x="78105" y="0"/>
                    </a:cubicBezTo>
                    <a:close/>
                    <a:moveTo>
                      <a:pt x="78105" y="141446"/>
                    </a:moveTo>
                    <a:cubicBezTo>
                      <a:pt x="113348" y="141446"/>
                      <a:pt x="141923" y="112871"/>
                      <a:pt x="141923" y="77629"/>
                    </a:cubicBezTo>
                    <a:cubicBezTo>
                      <a:pt x="141923" y="42386"/>
                      <a:pt x="113348" y="13811"/>
                      <a:pt x="78105" y="13811"/>
                    </a:cubicBezTo>
                    <a:cubicBezTo>
                      <a:pt x="42863" y="13811"/>
                      <a:pt x="14288" y="42386"/>
                      <a:pt x="14288" y="77629"/>
                    </a:cubicBezTo>
                    <a:cubicBezTo>
                      <a:pt x="14288" y="112871"/>
                      <a:pt x="43339" y="141446"/>
                      <a:pt x="78105" y="141446"/>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sp>
            <p:nvSpPr>
              <p:cNvPr id="62" name="Freeform: Shape 106">
                <a:extLst>
                  <a:ext uri="{FF2B5EF4-FFF2-40B4-BE49-F238E27FC236}">
                    <a16:creationId xmlns:a16="http://schemas.microsoft.com/office/drawing/2014/main" id="{56FDF617-3BA2-8B47-8E36-A6632DFE19A0}"/>
                  </a:ext>
                </a:extLst>
              </p:cNvPr>
              <p:cNvSpPr/>
              <p:nvPr/>
            </p:nvSpPr>
            <p:spPr>
              <a:xfrm>
                <a:off x="5299684" y="1101563"/>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446 h 156209"/>
                  <a:gd name="connsiteX6" fmla="*/ 141922 w 156209"/>
                  <a:gd name="connsiteY6" fmla="*/ 77629 h 156209"/>
                  <a:gd name="connsiteX7" fmla="*/ 78105 w 156209"/>
                  <a:gd name="connsiteY7" fmla="*/ 13811 h 156209"/>
                  <a:gd name="connsiteX8" fmla="*/ 14288 w 156209"/>
                  <a:gd name="connsiteY8" fmla="*/ 77629 h 156209"/>
                  <a:gd name="connsiteX9" fmla="*/ 78105 w 156209"/>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4766" y="0"/>
                      <a:pt x="78105" y="0"/>
                    </a:cubicBezTo>
                    <a:close/>
                    <a:moveTo>
                      <a:pt x="78105" y="141446"/>
                    </a:moveTo>
                    <a:cubicBezTo>
                      <a:pt x="113347" y="141446"/>
                      <a:pt x="141922" y="112871"/>
                      <a:pt x="141922" y="77629"/>
                    </a:cubicBezTo>
                    <a:cubicBezTo>
                      <a:pt x="141922" y="42386"/>
                      <a:pt x="113347" y="13811"/>
                      <a:pt x="78105" y="13811"/>
                    </a:cubicBezTo>
                    <a:cubicBezTo>
                      <a:pt x="42863" y="13811"/>
                      <a:pt x="14288" y="42386"/>
                      <a:pt x="14288" y="77629"/>
                    </a:cubicBezTo>
                    <a:cubicBezTo>
                      <a:pt x="14288" y="112871"/>
                      <a:pt x="42863" y="141446"/>
                      <a:pt x="78105" y="141446"/>
                    </a:cubicBezTo>
                    <a:close/>
                  </a:path>
                </a:pathLst>
              </a:custGeom>
              <a:solidFill>
                <a:srgbClr val="00BCEB"/>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pic>
            <p:nvPicPr>
              <p:cNvPr id="63" name="Picture 62" descr="A picture containing food&#10;&#10;Description automatically generated">
                <a:extLst>
                  <a:ext uri="{FF2B5EF4-FFF2-40B4-BE49-F238E27FC236}">
                    <a16:creationId xmlns:a16="http://schemas.microsoft.com/office/drawing/2014/main" id="{D3B3F6C5-A146-8C4F-83EA-4750BEC8D50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26877" y="712181"/>
                <a:ext cx="924953" cy="929195"/>
              </a:xfrm>
              <a:prstGeom prst="ellipse">
                <a:avLst/>
              </a:prstGeom>
            </p:spPr>
          </p:pic>
          <p:sp>
            <p:nvSpPr>
              <p:cNvPr id="64" name="Freeform: Shape 115">
                <a:extLst>
                  <a:ext uri="{FF2B5EF4-FFF2-40B4-BE49-F238E27FC236}">
                    <a16:creationId xmlns:a16="http://schemas.microsoft.com/office/drawing/2014/main" id="{F1959775-16DD-FE4C-B79D-AF0C6713777A}"/>
                  </a:ext>
                </a:extLst>
              </p:cNvPr>
              <p:cNvSpPr/>
              <p:nvPr/>
            </p:nvSpPr>
            <p:spPr>
              <a:xfrm>
                <a:off x="4580218" y="1266815"/>
                <a:ext cx="19010" cy="19010"/>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2" y="0"/>
                      <a:pt x="22384" y="0"/>
                    </a:cubicBezTo>
                    <a:cubicBezTo>
                      <a:pt x="34746" y="0"/>
                      <a:pt x="44768" y="10022"/>
                      <a:pt x="44768" y="22384"/>
                    </a:cubicBezTo>
                    <a:close/>
                  </a:path>
                </a:pathLst>
              </a:custGeom>
              <a:solidFill>
                <a:srgbClr val="000000"/>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mj-lt"/>
                </a:endParaRPr>
              </a:p>
            </p:txBody>
          </p:sp>
          <p:grpSp>
            <p:nvGrpSpPr>
              <p:cNvPr id="65" name="Group 64">
                <a:extLst>
                  <a:ext uri="{FF2B5EF4-FFF2-40B4-BE49-F238E27FC236}">
                    <a16:creationId xmlns:a16="http://schemas.microsoft.com/office/drawing/2014/main" id="{38151F30-EDA9-394A-BD43-E44BB9A1465D}"/>
                  </a:ext>
                </a:extLst>
              </p:cNvPr>
              <p:cNvGrpSpPr/>
              <p:nvPr/>
            </p:nvGrpSpPr>
            <p:grpSpPr>
              <a:xfrm>
                <a:off x="6892766" y="3064195"/>
                <a:ext cx="950617" cy="937960"/>
                <a:chOff x="6892766" y="3064195"/>
                <a:chExt cx="950617" cy="937960"/>
              </a:xfrm>
            </p:grpSpPr>
            <p:sp>
              <p:nvSpPr>
                <p:cNvPr id="66" name="Oval 65">
                  <a:extLst>
                    <a:ext uri="{FF2B5EF4-FFF2-40B4-BE49-F238E27FC236}">
                      <a16:creationId xmlns:a16="http://schemas.microsoft.com/office/drawing/2014/main" id="{93635170-3985-CD42-B9FF-A09602F585D0}"/>
                    </a:ext>
                  </a:extLst>
                </p:cNvPr>
                <p:cNvSpPr/>
                <p:nvPr/>
              </p:nvSpPr>
              <p:spPr>
                <a:xfrm>
                  <a:off x="6932798" y="3155833"/>
                  <a:ext cx="846322" cy="846322"/>
                </a:xfrm>
                <a:prstGeom prst="ellipse">
                  <a:avLst/>
                </a:prstGeom>
                <a:solidFill>
                  <a:srgbClr val="00BCEB">
                    <a:alpha val="60000"/>
                  </a:srgbClr>
                </a:solidFill>
                <a:ln w="1905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sp>
              <p:nvSpPr>
                <p:cNvPr id="67" name="Arc 66">
                  <a:extLst>
                    <a:ext uri="{FF2B5EF4-FFF2-40B4-BE49-F238E27FC236}">
                      <a16:creationId xmlns:a16="http://schemas.microsoft.com/office/drawing/2014/main" id="{E563FD4B-EDC9-2F47-A237-8E1781B40436}"/>
                    </a:ext>
                  </a:extLst>
                </p:cNvPr>
                <p:cNvSpPr/>
                <p:nvPr/>
              </p:nvSpPr>
              <p:spPr>
                <a:xfrm rot="10800000" flipH="1" flipV="1">
                  <a:off x="6892766" y="3064195"/>
                  <a:ext cx="863758" cy="863758"/>
                </a:xfrm>
                <a:prstGeom prst="arc">
                  <a:avLst>
                    <a:gd name="adj1" fmla="val 6332327"/>
                    <a:gd name="adj2" fmla="val 17280679"/>
                  </a:avLst>
                </a:prstGeom>
                <a:noFill/>
                <a:ln w="19050" cap="rnd" cmpd="sng" algn="ctr">
                  <a:solidFill>
                    <a:srgbClr val="6EBE4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j-lt"/>
                    <a:ea typeface="ＭＳ Ｐゴシック" charset="0"/>
                  </a:endParaRPr>
                </a:p>
              </p:txBody>
            </p:sp>
            <p:pic>
              <p:nvPicPr>
                <p:cNvPr id="68" name="Picture 67" descr="A picture containing object, black, sitting, white&#10;&#10;Description automatically generated">
                  <a:extLst>
                    <a:ext uri="{FF2B5EF4-FFF2-40B4-BE49-F238E27FC236}">
                      <a16:creationId xmlns:a16="http://schemas.microsoft.com/office/drawing/2014/main" id="{6B443091-4E50-104B-BEAB-1A776DBCAEBB}"/>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7015497" y="3108685"/>
                  <a:ext cx="827886" cy="827886"/>
                </a:xfrm>
                <a:custGeom>
                  <a:avLst/>
                  <a:gdLst>
                    <a:gd name="connsiteX0" fmla="*/ 413943 w 827886"/>
                    <a:gd name="connsiteY0" fmla="*/ 0 h 827886"/>
                    <a:gd name="connsiteX1" fmla="*/ 827886 w 827886"/>
                    <a:gd name="connsiteY1" fmla="*/ 413943 h 827886"/>
                    <a:gd name="connsiteX2" fmla="*/ 413943 w 827886"/>
                    <a:gd name="connsiteY2" fmla="*/ 827886 h 827886"/>
                    <a:gd name="connsiteX3" fmla="*/ 0 w 827886"/>
                    <a:gd name="connsiteY3" fmla="*/ 413943 h 827886"/>
                    <a:gd name="connsiteX4" fmla="*/ 413943 w 827886"/>
                    <a:gd name="connsiteY4" fmla="*/ 0 h 827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886" h="827886">
                      <a:moveTo>
                        <a:pt x="413943" y="0"/>
                      </a:moveTo>
                      <a:cubicBezTo>
                        <a:pt x="642557" y="0"/>
                        <a:pt x="827886" y="185329"/>
                        <a:pt x="827886" y="413943"/>
                      </a:cubicBezTo>
                      <a:cubicBezTo>
                        <a:pt x="827886" y="642557"/>
                        <a:pt x="642557" y="827886"/>
                        <a:pt x="413943" y="827886"/>
                      </a:cubicBezTo>
                      <a:cubicBezTo>
                        <a:pt x="185329" y="827886"/>
                        <a:pt x="0" y="642557"/>
                        <a:pt x="0" y="413943"/>
                      </a:cubicBezTo>
                      <a:cubicBezTo>
                        <a:pt x="0" y="185329"/>
                        <a:pt x="185329" y="0"/>
                        <a:pt x="413943" y="0"/>
                      </a:cubicBezTo>
                      <a:close/>
                    </a:path>
                  </a:pathLst>
                </a:custGeom>
              </p:spPr>
            </p:pic>
          </p:grpSp>
        </p:grpSp>
      </p:grpSp>
      <p:sp>
        <p:nvSpPr>
          <p:cNvPr id="2" name="Title 1">
            <a:extLst>
              <a:ext uri="{FF2B5EF4-FFF2-40B4-BE49-F238E27FC236}">
                <a16:creationId xmlns:a16="http://schemas.microsoft.com/office/drawing/2014/main" id="{3480359A-76E8-6D4D-B055-E4AA2AF5D442}"/>
              </a:ext>
            </a:extLst>
          </p:cNvPr>
          <p:cNvSpPr>
            <a:spLocks noGrp="1"/>
          </p:cNvSpPr>
          <p:nvPr>
            <p:ph type="title"/>
          </p:nvPr>
        </p:nvSpPr>
        <p:spPr/>
        <p:txBody>
          <a:bodyPr/>
          <a:lstStyle/>
          <a:p>
            <a:r>
              <a:rPr lang="en-US"/>
              <a:t>From Complexity</a:t>
            </a:r>
            <a:endParaRPr lang="en-US" dirty="0"/>
          </a:p>
        </p:txBody>
      </p:sp>
      <p:sp>
        <p:nvSpPr>
          <p:cNvPr id="4" name="Text Placeholder 3">
            <a:extLst>
              <a:ext uri="{FF2B5EF4-FFF2-40B4-BE49-F238E27FC236}">
                <a16:creationId xmlns:a16="http://schemas.microsoft.com/office/drawing/2014/main" id="{0035A1A5-99BE-BF44-B4A1-FA96E65612B5}"/>
              </a:ext>
            </a:extLst>
          </p:cNvPr>
          <p:cNvSpPr>
            <a:spLocks noGrp="1"/>
          </p:cNvSpPr>
          <p:nvPr>
            <p:ph type="body" sz="quarter" idx="12"/>
          </p:nvPr>
        </p:nvSpPr>
        <p:spPr>
          <a:xfrm>
            <a:off x="437765" y="1665182"/>
            <a:ext cx="3714921" cy="2849668"/>
          </a:xfrm>
        </p:spPr>
        <p:txBody>
          <a:bodyPr/>
          <a:lstStyle/>
          <a:p>
            <a:pPr marL="9144" indent="0">
              <a:buNone/>
            </a:pPr>
            <a:r>
              <a:rPr lang="en-US" dirty="0"/>
              <a:t>An integrated environment with back-end integrations translate into better front-end experiences.</a:t>
            </a:r>
          </a:p>
        </p:txBody>
      </p:sp>
      <p:sp>
        <p:nvSpPr>
          <p:cNvPr id="120" name="Title 1">
            <a:extLst>
              <a:ext uri="{FF2B5EF4-FFF2-40B4-BE49-F238E27FC236}">
                <a16:creationId xmlns:a16="http://schemas.microsoft.com/office/drawing/2014/main" id="{1A9FC96D-56F0-C840-9EA3-9B30998062EC}"/>
              </a:ext>
            </a:extLst>
          </p:cNvPr>
          <p:cNvSpPr txBox="1">
            <a:spLocks/>
          </p:cNvSpPr>
          <p:nvPr/>
        </p:nvSpPr>
        <p:spPr bwMode="auto">
          <a:xfrm>
            <a:off x="5024634"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90000"/>
              </a:lnSpc>
              <a:spcBef>
                <a:spcPct val="0"/>
              </a:spcBef>
              <a:spcAft>
                <a:spcPct val="0"/>
              </a:spcAft>
              <a:defRPr lang="en-US" sz="2800" b="0" i="0" u="none" kern="1200">
                <a:solidFill>
                  <a:schemeClr val="bg1"/>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a:solidFill>
                  <a:schemeClr val="tx1"/>
                </a:solidFill>
              </a:rPr>
              <a:t>To Simplicity</a:t>
            </a:r>
          </a:p>
        </p:txBody>
      </p:sp>
    </p:spTree>
    <p:extLst>
      <p:ext uri="{BB962C8B-B14F-4D97-AF65-F5344CB8AC3E}">
        <p14:creationId xmlns:p14="http://schemas.microsoft.com/office/powerpoint/2010/main" val="19361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000E0C7-2D66-4942-BCAE-0DDE3C4BD5F8}"/>
              </a:ext>
            </a:extLst>
          </p:cNvPr>
          <p:cNvSpPr>
            <a:spLocks noGrp="1"/>
          </p:cNvSpPr>
          <p:nvPr>
            <p:ph type="title"/>
          </p:nvPr>
        </p:nvSpPr>
        <p:spPr/>
        <p:txBody>
          <a:bodyPr/>
          <a:lstStyle/>
          <a:p>
            <a:r>
              <a:rPr lang="en-US"/>
              <a:t>Foundational strategies from our Advisory CISOs</a:t>
            </a:r>
            <a:endParaRPr lang="en-US" dirty="0"/>
          </a:p>
        </p:txBody>
      </p:sp>
      <p:sp>
        <p:nvSpPr>
          <p:cNvPr id="17" name="Text Placeholder 16">
            <a:extLst>
              <a:ext uri="{FF2B5EF4-FFF2-40B4-BE49-F238E27FC236}">
                <a16:creationId xmlns:a16="http://schemas.microsoft.com/office/drawing/2014/main" id="{BA3C7432-3DC7-094B-AA9E-476CB102055E}"/>
              </a:ext>
            </a:extLst>
          </p:cNvPr>
          <p:cNvSpPr>
            <a:spLocks noGrp="1"/>
          </p:cNvSpPr>
          <p:nvPr>
            <p:ph type="body" sz="quarter" idx="11"/>
          </p:nvPr>
        </p:nvSpPr>
        <p:spPr>
          <a:xfrm>
            <a:off x="4863762" y="1255906"/>
            <a:ext cx="3827501" cy="2642248"/>
          </a:xfrm>
        </p:spPr>
        <p:txBody>
          <a:bodyPr anchor="ctr"/>
          <a:lstStyle/>
          <a:p>
            <a:r>
              <a:rPr lang="en-US" b="1" dirty="0">
                <a:solidFill>
                  <a:schemeClr val="accent2"/>
                </a:solidFill>
              </a:rPr>
              <a:t>Drive technology choices </a:t>
            </a:r>
            <a:r>
              <a:rPr lang="en-US" dirty="0"/>
              <a:t>based on integrations</a:t>
            </a:r>
          </a:p>
          <a:p>
            <a:r>
              <a:rPr lang="en-US" b="1" dirty="0">
                <a:solidFill>
                  <a:schemeClr val="accent2"/>
                </a:solidFill>
              </a:rPr>
              <a:t>Enable</a:t>
            </a:r>
            <a:r>
              <a:rPr lang="en-US" dirty="0"/>
              <a:t> collaboration</a:t>
            </a:r>
          </a:p>
          <a:p>
            <a:r>
              <a:rPr lang="en-US" dirty="0"/>
              <a:t>Adopt a </a:t>
            </a:r>
            <a:r>
              <a:rPr lang="en-US" b="1" dirty="0">
                <a:solidFill>
                  <a:schemeClr val="accent2"/>
                </a:solidFill>
              </a:rPr>
              <a:t>security maturity </a:t>
            </a:r>
            <a:r>
              <a:rPr lang="en-US" dirty="0"/>
              <a:t>model</a:t>
            </a:r>
          </a:p>
          <a:p>
            <a:r>
              <a:rPr lang="en-US" b="1" dirty="0">
                <a:solidFill>
                  <a:schemeClr val="accent2"/>
                </a:solidFill>
              </a:rPr>
              <a:t>Unify</a:t>
            </a:r>
            <a:r>
              <a:rPr lang="en-US" dirty="0"/>
              <a:t> visibility</a:t>
            </a:r>
          </a:p>
          <a:p>
            <a:r>
              <a:rPr lang="en-US" dirty="0"/>
              <a:t>Leverage </a:t>
            </a:r>
            <a:r>
              <a:rPr lang="en-US" b="1" dirty="0">
                <a:solidFill>
                  <a:schemeClr val="accent2"/>
                </a:solidFill>
              </a:rPr>
              <a:t>automation</a:t>
            </a:r>
          </a:p>
        </p:txBody>
      </p:sp>
      <p:grpSp>
        <p:nvGrpSpPr>
          <p:cNvPr id="198" name="Group 197">
            <a:extLst>
              <a:ext uri="{FF2B5EF4-FFF2-40B4-BE49-F238E27FC236}">
                <a16:creationId xmlns:a16="http://schemas.microsoft.com/office/drawing/2014/main" id="{435BC93D-62C1-BC4A-8A5E-3EA4BA5C9F29}"/>
              </a:ext>
            </a:extLst>
          </p:cNvPr>
          <p:cNvGrpSpPr/>
          <p:nvPr/>
        </p:nvGrpSpPr>
        <p:grpSpPr>
          <a:xfrm flipH="1">
            <a:off x="-708104" y="1007228"/>
            <a:ext cx="5001657" cy="3121054"/>
            <a:chOff x="533400" y="548384"/>
            <a:chExt cx="3792415" cy="2366482"/>
          </a:xfrm>
        </p:grpSpPr>
        <p:sp>
          <p:nvSpPr>
            <p:cNvPr id="199" name="Freeform: Shape 299">
              <a:extLst>
                <a:ext uri="{FF2B5EF4-FFF2-40B4-BE49-F238E27FC236}">
                  <a16:creationId xmlns:a16="http://schemas.microsoft.com/office/drawing/2014/main" id="{BF14262C-41D3-4743-B36F-EF71AAA405D8}"/>
                </a:ext>
              </a:extLst>
            </p:cNvPr>
            <p:cNvSpPr/>
            <p:nvPr/>
          </p:nvSpPr>
          <p:spPr>
            <a:xfrm>
              <a:off x="2777292" y="1970653"/>
              <a:ext cx="198237" cy="198237"/>
            </a:xfrm>
            <a:custGeom>
              <a:avLst/>
              <a:gdLst>
                <a:gd name="connsiteX0" fmla="*/ 319157 w 319156"/>
                <a:gd name="connsiteY0" fmla="*/ 159578 h 319156"/>
                <a:gd name="connsiteX1" fmla="*/ 159578 w 319156"/>
                <a:gd name="connsiteY1" fmla="*/ 319157 h 319156"/>
                <a:gd name="connsiteX2" fmla="*/ 0 w 319156"/>
                <a:gd name="connsiteY2" fmla="*/ 159578 h 319156"/>
                <a:gd name="connsiteX3" fmla="*/ 159578 w 319156"/>
                <a:gd name="connsiteY3" fmla="*/ 0 h 319156"/>
                <a:gd name="connsiteX4" fmla="*/ 319157 w 319156"/>
                <a:gd name="connsiteY4" fmla="*/ 159578 h 319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156" h="319156">
                  <a:moveTo>
                    <a:pt x="319157" y="159578"/>
                  </a:moveTo>
                  <a:cubicBezTo>
                    <a:pt x="319157" y="247711"/>
                    <a:pt x="247711" y="319157"/>
                    <a:pt x="159578" y="319157"/>
                  </a:cubicBezTo>
                  <a:cubicBezTo>
                    <a:pt x="71445" y="319157"/>
                    <a:pt x="0" y="247711"/>
                    <a:pt x="0" y="159578"/>
                  </a:cubicBezTo>
                  <a:cubicBezTo>
                    <a:pt x="0" y="71446"/>
                    <a:pt x="71445" y="0"/>
                    <a:pt x="159578" y="0"/>
                  </a:cubicBezTo>
                  <a:cubicBezTo>
                    <a:pt x="247711" y="0"/>
                    <a:pt x="319157" y="71446"/>
                    <a:pt x="319157" y="159578"/>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0" name="Freeform: Shape 300">
              <a:extLst>
                <a:ext uri="{FF2B5EF4-FFF2-40B4-BE49-F238E27FC236}">
                  <a16:creationId xmlns:a16="http://schemas.microsoft.com/office/drawing/2014/main" id="{75550D63-481F-5B4E-AF71-3AB44B9179F7}"/>
                </a:ext>
              </a:extLst>
            </p:cNvPr>
            <p:cNvSpPr/>
            <p:nvPr/>
          </p:nvSpPr>
          <p:spPr>
            <a:xfrm>
              <a:off x="1821622" y="1286062"/>
              <a:ext cx="823364" cy="823362"/>
            </a:xfrm>
            <a:custGeom>
              <a:avLst/>
              <a:gdLst>
                <a:gd name="connsiteX0" fmla="*/ 1325589 w 1325588"/>
                <a:gd name="connsiteY0" fmla="*/ 662794 h 1325587"/>
                <a:gd name="connsiteX1" fmla="*/ 662794 w 1325588"/>
                <a:gd name="connsiteY1" fmla="*/ 1325588 h 1325587"/>
                <a:gd name="connsiteX2" fmla="*/ 0 w 1325588"/>
                <a:gd name="connsiteY2" fmla="*/ 662794 h 1325587"/>
                <a:gd name="connsiteX3" fmla="*/ 662794 w 1325588"/>
                <a:gd name="connsiteY3" fmla="*/ 0 h 1325587"/>
                <a:gd name="connsiteX4" fmla="*/ 1325589 w 1325588"/>
                <a:gd name="connsiteY4" fmla="*/ 662794 h 1325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588" h="1325587">
                  <a:moveTo>
                    <a:pt x="1325589" y="662794"/>
                  </a:moveTo>
                  <a:cubicBezTo>
                    <a:pt x="1325589" y="1028845"/>
                    <a:pt x="1028845" y="1325588"/>
                    <a:pt x="662794" y="1325588"/>
                  </a:cubicBezTo>
                  <a:cubicBezTo>
                    <a:pt x="296743" y="1325588"/>
                    <a:pt x="0" y="1028845"/>
                    <a:pt x="0" y="662794"/>
                  </a:cubicBezTo>
                  <a:cubicBezTo>
                    <a:pt x="0" y="296743"/>
                    <a:pt x="296743" y="0"/>
                    <a:pt x="662794" y="0"/>
                  </a:cubicBezTo>
                  <a:cubicBezTo>
                    <a:pt x="1028845" y="0"/>
                    <a:pt x="1325589" y="296743"/>
                    <a:pt x="1325589" y="662794"/>
                  </a:cubicBezTo>
                  <a:close/>
                </a:path>
              </a:pathLst>
            </a:custGeom>
            <a:solidFill>
              <a:srgbClr val="6EBE4A"/>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1" name="Freeform: Shape 371">
              <a:extLst>
                <a:ext uri="{FF2B5EF4-FFF2-40B4-BE49-F238E27FC236}">
                  <a16:creationId xmlns:a16="http://schemas.microsoft.com/office/drawing/2014/main" id="{B3CB6CCE-870E-B442-9D1B-88C76BEA8915}"/>
                </a:ext>
              </a:extLst>
            </p:cNvPr>
            <p:cNvSpPr/>
            <p:nvPr/>
          </p:nvSpPr>
          <p:spPr>
            <a:xfrm>
              <a:off x="756588"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2" name="Freeform: Shape 372">
              <a:extLst>
                <a:ext uri="{FF2B5EF4-FFF2-40B4-BE49-F238E27FC236}">
                  <a16:creationId xmlns:a16="http://schemas.microsoft.com/office/drawing/2014/main" id="{DD783C73-11C7-1E4A-A460-30F2DD608008}"/>
                </a:ext>
              </a:extLst>
            </p:cNvPr>
            <p:cNvSpPr/>
            <p:nvPr/>
          </p:nvSpPr>
          <p:spPr>
            <a:xfrm>
              <a:off x="915084"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3" name="Freeform: Shape 373">
              <a:extLst>
                <a:ext uri="{FF2B5EF4-FFF2-40B4-BE49-F238E27FC236}">
                  <a16:creationId xmlns:a16="http://schemas.microsoft.com/office/drawing/2014/main" id="{895C615A-4001-D74D-A9DE-B6E2673A54F8}"/>
                </a:ext>
              </a:extLst>
            </p:cNvPr>
            <p:cNvSpPr/>
            <p:nvPr/>
          </p:nvSpPr>
          <p:spPr>
            <a:xfrm>
              <a:off x="1264820"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00BCEB"/>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4" name="Freeform: Shape 374">
              <a:extLst>
                <a:ext uri="{FF2B5EF4-FFF2-40B4-BE49-F238E27FC236}">
                  <a16:creationId xmlns:a16="http://schemas.microsoft.com/office/drawing/2014/main" id="{91858A95-5B78-194F-83BB-CF730FC2406B}"/>
                </a:ext>
              </a:extLst>
            </p:cNvPr>
            <p:cNvSpPr/>
            <p:nvPr/>
          </p:nvSpPr>
          <p:spPr>
            <a:xfrm>
              <a:off x="1264820" y="2400729"/>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5" name="Freeform: Shape 375">
              <a:extLst>
                <a:ext uri="{FF2B5EF4-FFF2-40B4-BE49-F238E27FC236}">
                  <a16:creationId xmlns:a16="http://schemas.microsoft.com/office/drawing/2014/main" id="{BB62C5EC-F6EE-5846-9C18-0F660C75608D}"/>
                </a:ext>
              </a:extLst>
            </p:cNvPr>
            <p:cNvSpPr/>
            <p:nvPr/>
          </p:nvSpPr>
          <p:spPr>
            <a:xfrm>
              <a:off x="1439673" y="2214744"/>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6" name="Freeform: Shape 376">
              <a:extLst>
                <a:ext uri="{FF2B5EF4-FFF2-40B4-BE49-F238E27FC236}">
                  <a16:creationId xmlns:a16="http://schemas.microsoft.com/office/drawing/2014/main" id="{397603BB-8C0A-5B47-8E1B-0B068D800A60}"/>
                </a:ext>
              </a:extLst>
            </p:cNvPr>
            <p:cNvSpPr/>
            <p:nvPr/>
          </p:nvSpPr>
          <p:spPr>
            <a:xfrm>
              <a:off x="1439673" y="203741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7" name="Freeform: Shape 377">
              <a:extLst>
                <a:ext uri="{FF2B5EF4-FFF2-40B4-BE49-F238E27FC236}">
                  <a16:creationId xmlns:a16="http://schemas.microsoft.com/office/drawing/2014/main" id="{E8638515-B636-F047-8124-ED998D83F379}"/>
                </a:ext>
              </a:extLst>
            </p:cNvPr>
            <p:cNvSpPr/>
            <p:nvPr/>
          </p:nvSpPr>
          <p:spPr>
            <a:xfrm>
              <a:off x="1630884" y="2219941"/>
              <a:ext cx="53737" cy="53737"/>
            </a:xfrm>
            <a:custGeom>
              <a:avLst/>
              <a:gdLst>
                <a:gd name="connsiteX0" fmla="*/ 86515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5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5" y="43258"/>
                  </a:moveTo>
                  <a:cubicBezTo>
                    <a:pt x="86515" y="67148"/>
                    <a:pt x="67148" y="86515"/>
                    <a:pt x="43258" y="86515"/>
                  </a:cubicBezTo>
                  <a:cubicBezTo>
                    <a:pt x="19367" y="86515"/>
                    <a:pt x="0" y="67148"/>
                    <a:pt x="0" y="43258"/>
                  </a:cubicBezTo>
                  <a:cubicBezTo>
                    <a:pt x="0" y="19367"/>
                    <a:pt x="19367" y="0"/>
                    <a:pt x="43258" y="0"/>
                  </a:cubicBezTo>
                  <a:cubicBezTo>
                    <a:pt x="67148" y="0"/>
                    <a:pt x="86515" y="19367"/>
                    <a:pt x="86515"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8" name="Freeform: Shape 378">
              <a:extLst>
                <a:ext uri="{FF2B5EF4-FFF2-40B4-BE49-F238E27FC236}">
                  <a16:creationId xmlns:a16="http://schemas.microsoft.com/office/drawing/2014/main" id="{AA330313-F920-6C41-9C44-05966A1A082D}"/>
                </a:ext>
              </a:extLst>
            </p:cNvPr>
            <p:cNvSpPr/>
            <p:nvPr/>
          </p:nvSpPr>
          <p:spPr>
            <a:xfrm>
              <a:off x="756588"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09" name="Freeform: Shape 379">
              <a:extLst>
                <a:ext uri="{FF2B5EF4-FFF2-40B4-BE49-F238E27FC236}">
                  <a16:creationId xmlns:a16="http://schemas.microsoft.com/office/drawing/2014/main" id="{B9C85BB2-4E8E-0542-B45C-8524CEC2D57C}"/>
                </a:ext>
              </a:extLst>
            </p:cNvPr>
            <p:cNvSpPr/>
            <p:nvPr/>
          </p:nvSpPr>
          <p:spPr>
            <a:xfrm>
              <a:off x="1264820"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0" name="Freeform: Shape 380">
              <a:extLst>
                <a:ext uri="{FF2B5EF4-FFF2-40B4-BE49-F238E27FC236}">
                  <a16:creationId xmlns:a16="http://schemas.microsoft.com/office/drawing/2014/main" id="{F29B2D09-A201-E046-9DB1-7F1ACC970FA2}"/>
                </a:ext>
              </a:extLst>
            </p:cNvPr>
            <p:cNvSpPr/>
            <p:nvPr/>
          </p:nvSpPr>
          <p:spPr>
            <a:xfrm>
              <a:off x="1439673"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00BCEB"/>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1" name="Freeform: Shape 381">
              <a:extLst>
                <a:ext uri="{FF2B5EF4-FFF2-40B4-BE49-F238E27FC236}">
                  <a16:creationId xmlns:a16="http://schemas.microsoft.com/office/drawing/2014/main" id="{050B356B-3E29-6440-BDAA-67CA1A295D52}"/>
                </a:ext>
              </a:extLst>
            </p:cNvPr>
            <p:cNvSpPr/>
            <p:nvPr/>
          </p:nvSpPr>
          <p:spPr>
            <a:xfrm>
              <a:off x="1610157" y="2736558"/>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6 h 153256"/>
                <a:gd name="connsiteX7" fmla="*/ 76628 w 153256"/>
                <a:gd name="connsiteY7" fmla="*/ 139185 h 153256"/>
                <a:gd name="connsiteX8" fmla="*/ 139138 w 153256"/>
                <a:gd name="connsiteY8" fmla="*/ 76676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8"/>
                    <a:pt x="0" y="76628"/>
                  </a:cubicBezTo>
                  <a:cubicBezTo>
                    <a:pt x="0" y="34369"/>
                    <a:pt x="34369" y="0"/>
                    <a:pt x="76628" y="0"/>
                  </a:cubicBezTo>
                  <a:cubicBezTo>
                    <a:pt x="118888"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2" name="Freeform: Shape 382">
              <a:extLst>
                <a:ext uri="{FF2B5EF4-FFF2-40B4-BE49-F238E27FC236}">
                  <a16:creationId xmlns:a16="http://schemas.microsoft.com/office/drawing/2014/main" id="{7383F696-494B-CF42-87C9-3FD762319B81}"/>
                </a:ext>
              </a:extLst>
            </p:cNvPr>
            <p:cNvSpPr/>
            <p:nvPr/>
          </p:nvSpPr>
          <p:spPr>
            <a:xfrm>
              <a:off x="1418946" y="2556774"/>
              <a:ext cx="95191" cy="95191"/>
            </a:xfrm>
            <a:custGeom>
              <a:avLst/>
              <a:gdLst>
                <a:gd name="connsiteX0" fmla="*/ 76628 w 153255"/>
                <a:gd name="connsiteY0" fmla="*/ 153256 h 153255"/>
                <a:gd name="connsiteX1" fmla="*/ 0 w 153255"/>
                <a:gd name="connsiteY1" fmla="*/ 76628 h 153255"/>
                <a:gd name="connsiteX2" fmla="*/ 76628 w 153255"/>
                <a:gd name="connsiteY2" fmla="*/ 0 h 153255"/>
                <a:gd name="connsiteX3" fmla="*/ 153256 w 153255"/>
                <a:gd name="connsiteY3" fmla="*/ 76628 h 153255"/>
                <a:gd name="connsiteX4" fmla="*/ 76628 w 153255"/>
                <a:gd name="connsiteY4" fmla="*/ 153256 h 153255"/>
                <a:gd name="connsiteX5" fmla="*/ 76628 w 153255"/>
                <a:gd name="connsiteY5" fmla="*/ 14166 h 153255"/>
                <a:gd name="connsiteX6" fmla="*/ 14118 w 153255"/>
                <a:gd name="connsiteY6" fmla="*/ 76676 h 153255"/>
                <a:gd name="connsiteX7" fmla="*/ 76628 w 153255"/>
                <a:gd name="connsiteY7" fmla="*/ 139185 h 153255"/>
                <a:gd name="connsiteX8" fmla="*/ 139138 w 153255"/>
                <a:gd name="connsiteY8" fmla="*/ 76676 h 153255"/>
                <a:gd name="connsiteX9" fmla="*/ 76628 w 153255"/>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5" h="153255">
                  <a:moveTo>
                    <a:pt x="76628" y="153256"/>
                  </a:moveTo>
                  <a:cubicBezTo>
                    <a:pt x="34368" y="153256"/>
                    <a:pt x="0" y="118887"/>
                    <a:pt x="0" y="76628"/>
                  </a:cubicBezTo>
                  <a:cubicBezTo>
                    <a:pt x="0" y="34368"/>
                    <a:pt x="34368" y="0"/>
                    <a:pt x="76628" y="0"/>
                  </a:cubicBezTo>
                  <a:cubicBezTo>
                    <a:pt x="118887"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3" name="Freeform: Shape 383">
              <a:extLst>
                <a:ext uri="{FF2B5EF4-FFF2-40B4-BE49-F238E27FC236}">
                  <a16:creationId xmlns:a16="http://schemas.microsoft.com/office/drawing/2014/main" id="{18D5EA38-AABC-9644-9693-96B3CB55F5E4}"/>
                </a:ext>
              </a:extLst>
            </p:cNvPr>
            <p:cNvSpPr/>
            <p:nvPr/>
          </p:nvSpPr>
          <p:spPr>
            <a:xfrm>
              <a:off x="1418946" y="2380002"/>
              <a:ext cx="95191" cy="95191"/>
            </a:xfrm>
            <a:custGeom>
              <a:avLst/>
              <a:gdLst>
                <a:gd name="connsiteX0" fmla="*/ 76628 w 153255"/>
                <a:gd name="connsiteY0" fmla="*/ 153256 h 153255"/>
                <a:gd name="connsiteX1" fmla="*/ 0 w 153255"/>
                <a:gd name="connsiteY1" fmla="*/ 76628 h 153255"/>
                <a:gd name="connsiteX2" fmla="*/ 76628 w 153255"/>
                <a:gd name="connsiteY2" fmla="*/ 0 h 153255"/>
                <a:gd name="connsiteX3" fmla="*/ 153256 w 153255"/>
                <a:gd name="connsiteY3" fmla="*/ 76628 h 153255"/>
                <a:gd name="connsiteX4" fmla="*/ 76628 w 153255"/>
                <a:gd name="connsiteY4" fmla="*/ 153256 h 153255"/>
                <a:gd name="connsiteX5" fmla="*/ 76628 w 153255"/>
                <a:gd name="connsiteY5" fmla="*/ 14118 h 153255"/>
                <a:gd name="connsiteX6" fmla="*/ 14118 w 153255"/>
                <a:gd name="connsiteY6" fmla="*/ 76628 h 153255"/>
                <a:gd name="connsiteX7" fmla="*/ 76628 w 153255"/>
                <a:gd name="connsiteY7" fmla="*/ 139138 h 153255"/>
                <a:gd name="connsiteX8" fmla="*/ 139138 w 153255"/>
                <a:gd name="connsiteY8" fmla="*/ 76628 h 153255"/>
                <a:gd name="connsiteX9" fmla="*/ 76628 w 153255"/>
                <a:gd name="connsiteY9" fmla="*/ 14118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5" h="153255">
                  <a:moveTo>
                    <a:pt x="76628" y="153256"/>
                  </a:moveTo>
                  <a:cubicBezTo>
                    <a:pt x="34368" y="153256"/>
                    <a:pt x="0" y="118887"/>
                    <a:pt x="0" y="76628"/>
                  </a:cubicBezTo>
                  <a:cubicBezTo>
                    <a:pt x="0" y="34368"/>
                    <a:pt x="34368" y="0"/>
                    <a:pt x="76628" y="0"/>
                  </a:cubicBezTo>
                  <a:cubicBezTo>
                    <a:pt x="118887" y="0"/>
                    <a:pt x="153256" y="34368"/>
                    <a:pt x="153256" y="76628"/>
                  </a:cubicBezTo>
                  <a:cubicBezTo>
                    <a:pt x="153256" y="118887"/>
                    <a:pt x="118840" y="153256"/>
                    <a:pt x="76628" y="153256"/>
                  </a:cubicBezTo>
                  <a:close/>
                  <a:moveTo>
                    <a:pt x="76628" y="14118"/>
                  </a:moveTo>
                  <a:cubicBezTo>
                    <a:pt x="42164" y="14118"/>
                    <a:pt x="14118" y="42164"/>
                    <a:pt x="14118" y="76628"/>
                  </a:cubicBezTo>
                  <a:cubicBezTo>
                    <a:pt x="14118" y="111092"/>
                    <a:pt x="42164" y="139138"/>
                    <a:pt x="76628" y="139138"/>
                  </a:cubicBezTo>
                  <a:cubicBezTo>
                    <a:pt x="111092" y="139138"/>
                    <a:pt x="139138" y="111092"/>
                    <a:pt x="139138" y="76628"/>
                  </a:cubicBezTo>
                  <a:cubicBezTo>
                    <a:pt x="139138" y="42164"/>
                    <a:pt x="111092" y="14118"/>
                    <a:pt x="76628" y="14118"/>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4" name="Freeform: Shape 384">
              <a:extLst>
                <a:ext uri="{FF2B5EF4-FFF2-40B4-BE49-F238E27FC236}">
                  <a16:creationId xmlns:a16="http://schemas.microsoft.com/office/drawing/2014/main" id="{0EADB1D6-B743-4C4D-86B5-606E48E0981B}"/>
                </a:ext>
              </a:extLst>
            </p:cNvPr>
            <p:cNvSpPr/>
            <p:nvPr/>
          </p:nvSpPr>
          <p:spPr>
            <a:xfrm>
              <a:off x="1610157" y="255677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7"/>
                    <a:pt x="0" y="76628"/>
                  </a:cubicBezTo>
                  <a:cubicBezTo>
                    <a:pt x="0" y="34368"/>
                    <a:pt x="34369" y="0"/>
                    <a:pt x="76628" y="0"/>
                  </a:cubicBezTo>
                  <a:cubicBezTo>
                    <a:pt x="118888"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090" y="42212"/>
                    <a:pt x="111092" y="14166"/>
                    <a:pt x="76628" y="14166"/>
                  </a:cubicBezTo>
                  <a:close/>
                </a:path>
              </a:pathLst>
            </a:custGeom>
            <a:solidFill>
              <a:srgbClr val="E2231A"/>
            </a:solidFill>
            <a:ln w="4748" cap="flat">
              <a:solidFill>
                <a:srgbClr val="00BCE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5" name="Freeform: Shape 385">
              <a:extLst>
                <a:ext uri="{FF2B5EF4-FFF2-40B4-BE49-F238E27FC236}">
                  <a16:creationId xmlns:a16="http://schemas.microsoft.com/office/drawing/2014/main" id="{31511451-9FC3-2340-9ED8-EB265A453CA3}"/>
                </a:ext>
              </a:extLst>
            </p:cNvPr>
            <p:cNvSpPr/>
            <p:nvPr/>
          </p:nvSpPr>
          <p:spPr>
            <a:xfrm>
              <a:off x="1069240" y="255677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7"/>
                    <a:pt x="0" y="76628"/>
                  </a:cubicBezTo>
                  <a:cubicBezTo>
                    <a:pt x="0" y="34368"/>
                    <a:pt x="34369" y="0"/>
                    <a:pt x="76628" y="0"/>
                  </a:cubicBezTo>
                  <a:cubicBezTo>
                    <a:pt x="118888"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090" y="42212"/>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6" name="Freeform: Shape 386">
              <a:extLst>
                <a:ext uri="{FF2B5EF4-FFF2-40B4-BE49-F238E27FC236}">
                  <a16:creationId xmlns:a16="http://schemas.microsoft.com/office/drawing/2014/main" id="{A07B4348-A1F5-014B-BB72-5F9681CFE336}"/>
                </a:ext>
              </a:extLst>
            </p:cNvPr>
            <p:cNvSpPr/>
            <p:nvPr/>
          </p:nvSpPr>
          <p:spPr>
            <a:xfrm>
              <a:off x="1244093" y="219921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8"/>
                    <a:pt x="0" y="76628"/>
                  </a:cubicBezTo>
                  <a:cubicBezTo>
                    <a:pt x="0" y="34369"/>
                    <a:pt x="34369" y="0"/>
                    <a:pt x="76628" y="0"/>
                  </a:cubicBezTo>
                  <a:cubicBezTo>
                    <a:pt x="118887"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7" name="Freeform: Shape 387">
              <a:extLst>
                <a:ext uri="{FF2B5EF4-FFF2-40B4-BE49-F238E27FC236}">
                  <a16:creationId xmlns:a16="http://schemas.microsoft.com/office/drawing/2014/main" id="{F98382F3-B76B-8B40-8D9A-A6AD93951422}"/>
                </a:ext>
              </a:extLst>
            </p:cNvPr>
            <p:cNvSpPr/>
            <p:nvPr/>
          </p:nvSpPr>
          <p:spPr>
            <a:xfrm>
              <a:off x="1244093" y="2016684"/>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5 h 153256"/>
                <a:gd name="connsiteX7" fmla="*/ 76628 w 153256"/>
                <a:gd name="connsiteY7" fmla="*/ 139185 h 153256"/>
                <a:gd name="connsiteX8" fmla="*/ 139138 w 153256"/>
                <a:gd name="connsiteY8" fmla="*/ 76675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7"/>
                    <a:pt x="0" y="76628"/>
                  </a:cubicBezTo>
                  <a:cubicBezTo>
                    <a:pt x="0" y="34368"/>
                    <a:pt x="34369" y="0"/>
                    <a:pt x="76628" y="0"/>
                  </a:cubicBezTo>
                  <a:cubicBezTo>
                    <a:pt x="118887" y="0"/>
                    <a:pt x="153256" y="34368"/>
                    <a:pt x="153256" y="76628"/>
                  </a:cubicBezTo>
                  <a:cubicBezTo>
                    <a:pt x="153208" y="118887"/>
                    <a:pt x="118840" y="153256"/>
                    <a:pt x="76628" y="153256"/>
                  </a:cubicBezTo>
                  <a:close/>
                  <a:moveTo>
                    <a:pt x="76628" y="14166"/>
                  </a:moveTo>
                  <a:cubicBezTo>
                    <a:pt x="42164" y="14166"/>
                    <a:pt x="14118" y="42212"/>
                    <a:pt x="14118" y="76675"/>
                  </a:cubicBezTo>
                  <a:cubicBezTo>
                    <a:pt x="14118" y="111139"/>
                    <a:pt x="42164" y="139185"/>
                    <a:pt x="76628" y="139185"/>
                  </a:cubicBezTo>
                  <a:cubicBezTo>
                    <a:pt x="111092" y="139185"/>
                    <a:pt x="139138" y="111139"/>
                    <a:pt x="139138" y="76675"/>
                  </a:cubicBezTo>
                  <a:cubicBezTo>
                    <a:pt x="139090" y="42164"/>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8" name="Freeform: Shape 388">
              <a:extLst>
                <a:ext uri="{FF2B5EF4-FFF2-40B4-BE49-F238E27FC236}">
                  <a16:creationId xmlns:a16="http://schemas.microsoft.com/office/drawing/2014/main" id="{2B95D9E4-94F9-C749-9A11-D636081B45B6}"/>
                </a:ext>
              </a:extLst>
            </p:cNvPr>
            <p:cNvSpPr/>
            <p:nvPr/>
          </p:nvSpPr>
          <p:spPr>
            <a:xfrm>
              <a:off x="1610157" y="2016684"/>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5 h 153256"/>
                <a:gd name="connsiteX7" fmla="*/ 76628 w 153256"/>
                <a:gd name="connsiteY7" fmla="*/ 139185 h 153256"/>
                <a:gd name="connsiteX8" fmla="*/ 139138 w 153256"/>
                <a:gd name="connsiteY8" fmla="*/ 76675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7"/>
                    <a:pt x="0" y="76628"/>
                  </a:cubicBezTo>
                  <a:cubicBezTo>
                    <a:pt x="0" y="34368"/>
                    <a:pt x="34369" y="0"/>
                    <a:pt x="76628" y="0"/>
                  </a:cubicBezTo>
                  <a:cubicBezTo>
                    <a:pt x="118888" y="0"/>
                    <a:pt x="153256" y="34368"/>
                    <a:pt x="153256" y="76628"/>
                  </a:cubicBezTo>
                  <a:cubicBezTo>
                    <a:pt x="153209" y="118887"/>
                    <a:pt x="118840" y="153256"/>
                    <a:pt x="76628" y="153256"/>
                  </a:cubicBezTo>
                  <a:close/>
                  <a:moveTo>
                    <a:pt x="76628" y="14166"/>
                  </a:moveTo>
                  <a:cubicBezTo>
                    <a:pt x="42164" y="14166"/>
                    <a:pt x="14118" y="42212"/>
                    <a:pt x="14118" y="76675"/>
                  </a:cubicBezTo>
                  <a:cubicBezTo>
                    <a:pt x="14118" y="111139"/>
                    <a:pt x="42164" y="139185"/>
                    <a:pt x="76628" y="139185"/>
                  </a:cubicBezTo>
                  <a:cubicBezTo>
                    <a:pt x="111092" y="139185"/>
                    <a:pt x="139138" y="111139"/>
                    <a:pt x="139138" y="76675"/>
                  </a:cubicBezTo>
                  <a:cubicBezTo>
                    <a:pt x="139090" y="42164"/>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19" name="Freeform: Shape 389">
              <a:extLst>
                <a:ext uri="{FF2B5EF4-FFF2-40B4-BE49-F238E27FC236}">
                  <a16:creationId xmlns:a16="http://schemas.microsoft.com/office/drawing/2014/main" id="{E528890E-A00A-0A47-9CD2-1EA3892F2FAF}"/>
                </a:ext>
              </a:extLst>
            </p:cNvPr>
            <p:cNvSpPr/>
            <p:nvPr/>
          </p:nvSpPr>
          <p:spPr>
            <a:xfrm>
              <a:off x="1069240" y="2736558"/>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6 h 153256"/>
                <a:gd name="connsiteX7" fmla="*/ 76628 w 153256"/>
                <a:gd name="connsiteY7" fmla="*/ 139185 h 153256"/>
                <a:gd name="connsiteX8" fmla="*/ 139138 w 153256"/>
                <a:gd name="connsiteY8" fmla="*/ 76676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8"/>
                    <a:pt x="0" y="76628"/>
                  </a:cubicBezTo>
                  <a:cubicBezTo>
                    <a:pt x="0" y="34369"/>
                    <a:pt x="34369" y="0"/>
                    <a:pt x="76628" y="0"/>
                  </a:cubicBezTo>
                  <a:cubicBezTo>
                    <a:pt x="118888"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0" name="Freeform: Shape 302">
              <a:extLst>
                <a:ext uri="{FF2B5EF4-FFF2-40B4-BE49-F238E27FC236}">
                  <a16:creationId xmlns:a16="http://schemas.microsoft.com/office/drawing/2014/main" id="{510B5DB6-EAB1-A047-B528-FB208EEB534D}"/>
                </a:ext>
              </a:extLst>
            </p:cNvPr>
            <p:cNvSpPr/>
            <p:nvPr/>
          </p:nvSpPr>
          <p:spPr>
            <a:xfrm>
              <a:off x="3103406" y="1915735"/>
              <a:ext cx="55745" cy="55745"/>
            </a:xfrm>
            <a:custGeom>
              <a:avLst/>
              <a:gdLst>
                <a:gd name="connsiteX0" fmla="*/ 44874 w 89747"/>
                <a:gd name="connsiteY0" fmla="*/ 89748 h 89747"/>
                <a:gd name="connsiteX1" fmla="*/ 0 w 89747"/>
                <a:gd name="connsiteY1" fmla="*/ 44874 h 89747"/>
                <a:gd name="connsiteX2" fmla="*/ 44874 w 89747"/>
                <a:gd name="connsiteY2" fmla="*/ 0 h 89747"/>
                <a:gd name="connsiteX3" fmla="*/ 89748 w 89747"/>
                <a:gd name="connsiteY3" fmla="*/ 44874 h 89747"/>
                <a:gd name="connsiteX4" fmla="*/ 44874 w 89747"/>
                <a:gd name="connsiteY4" fmla="*/ 89748 h 89747"/>
                <a:gd name="connsiteX5" fmla="*/ 44874 w 89747"/>
                <a:gd name="connsiteY5" fmla="*/ 14261 h 89747"/>
                <a:gd name="connsiteX6" fmla="*/ 14261 w 89747"/>
                <a:gd name="connsiteY6" fmla="*/ 44874 h 89747"/>
                <a:gd name="connsiteX7" fmla="*/ 44874 w 89747"/>
                <a:gd name="connsiteY7" fmla="*/ 75487 h 89747"/>
                <a:gd name="connsiteX8" fmla="*/ 75487 w 89747"/>
                <a:gd name="connsiteY8" fmla="*/ 44874 h 89747"/>
                <a:gd name="connsiteX9" fmla="*/ 44874 w 89747"/>
                <a:gd name="connsiteY9" fmla="*/ 14261 h 8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47" h="89747">
                  <a:moveTo>
                    <a:pt x="44874" y="89748"/>
                  </a:moveTo>
                  <a:cubicBezTo>
                    <a:pt x="20155" y="89748"/>
                    <a:pt x="0" y="69640"/>
                    <a:pt x="0" y="44874"/>
                  </a:cubicBezTo>
                  <a:cubicBezTo>
                    <a:pt x="0" y="20108"/>
                    <a:pt x="20108" y="0"/>
                    <a:pt x="44874" y="0"/>
                  </a:cubicBezTo>
                  <a:cubicBezTo>
                    <a:pt x="69640" y="0"/>
                    <a:pt x="89748" y="20108"/>
                    <a:pt x="89748" y="44874"/>
                  </a:cubicBezTo>
                  <a:cubicBezTo>
                    <a:pt x="89748" y="69640"/>
                    <a:pt x="69640" y="89748"/>
                    <a:pt x="44874" y="89748"/>
                  </a:cubicBezTo>
                  <a:close/>
                  <a:moveTo>
                    <a:pt x="44874" y="14261"/>
                  </a:moveTo>
                  <a:cubicBezTo>
                    <a:pt x="27999" y="14261"/>
                    <a:pt x="14261" y="27999"/>
                    <a:pt x="14261" y="44874"/>
                  </a:cubicBezTo>
                  <a:cubicBezTo>
                    <a:pt x="14261" y="61749"/>
                    <a:pt x="27999" y="75487"/>
                    <a:pt x="44874" y="75487"/>
                  </a:cubicBezTo>
                  <a:cubicBezTo>
                    <a:pt x="61749" y="75487"/>
                    <a:pt x="75487" y="61749"/>
                    <a:pt x="75487" y="44874"/>
                  </a:cubicBezTo>
                  <a:cubicBezTo>
                    <a:pt x="75487" y="27999"/>
                    <a:pt x="61749" y="14261"/>
                    <a:pt x="44874" y="14261"/>
                  </a:cubicBezTo>
                  <a:close/>
                </a:path>
              </a:pathLst>
            </a:custGeom>
            <a:solidFill>
              <a:srgbClr val="6ABF4B"/>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1" name="Freeform: Shape 303">
              <a:extLst>
                <a:ext uri="{FF2B5EF4-FFF2-40B4-BE49-F238E27FC236}">
                  <a16:creationId xmlns:a16="http://schemas.microsoft.com/office/drawing/2014/main" id="{BD8D578B-E505-884E-A299-CCB54F55C8A1}"/>
                </a:ext>
              </a:extLst>
            </p:cNvPr>
            <p:cNvSpPr/>
            <p:nvPr/>
          </p:nvSpPr>
          <p:spPr>
            <a:xfrm>
              <a:off x="2214968" y="1584128"/>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nvGrpSpPr>
            <p:cNvPr id="222" name="Group 221">
              <a:extLst>
                <a:ext uri="{FF2B5EF4-FFF2-40B4-BE49-F238E27FC236}">
                  <a16:creationId xmlns:a16="http://schemas.microsoft.com/office/drawing/2014/main" id="{AAAF6F44-1837-7B4E-B0CF-9CB53C860625}"/>
                </a:ext>
              </a:extLst>
            </p:cNvPr>
            <p:cNvGrpSpPr/>
            <p:nvPr/>
          </p:nvGrpSpPr>
          <p:grpSpPr>
            <a:xfrm>
              <a:off x="533400" y="1823260"/>
              <a:ext cx="469434" cy="1091606"/>
              <a:chOff x="1440179" y="2599154"/>
              <a:chExt cx="755774" cy="1757451"/>
            </a:xfrm>
            <a:solidFill>
              <a:srgbClr val="00BCEB"/>
            </a:solidFill>
          </p:grpSpPr>
          <p:sp>
            <p:nvSpPr>
              <p:cNvPr id="281" name="Freeform: Shape 366">
                <a:extLst>
                  <a:ext uri="{FF2B5EF4-FFF2-40B4-BE49-F238E27FC236}">
                    <a16:creationId xmlns:a16="http://schemas.microsoft.com/office/drawing/2014/main" id="{8BA2CB9E-E571-4647-BBE9-B8B169429E0C}"/>
                  </a:ext>
                </a:extLst>
              </p:cNvPr>
              <p:cNvSpPr/>
              <p:nvPr/>
            </p:nvSpPr>
            <p:spPr>
              <a:xfrm>
                <a:off x="1792563" y="2599154"/>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82" name="Freeform: Shape 367">
                <a:extLst>
                  <a:ext uri="{FF2B5EF4-FFF2-40B4-BE49-F238E27FC236}">
                    <a16:creationId xmlns:a16="http://schemas.microsoft.com/office/drawing/2014/main" id="{B046E8DA-CF0B-7A40-A4C8-04A1166A0E32}"/>
                  </a:ext>
                </a:extLst>
              </p:cNvPr>
              <p:cNvSpPr/>
              <p:nvPr/>
            </p:nvSpPr>
            <p:spPr>
              <a:xfrm>
                <a:off x="2150604" y="2599154"/>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nvGrpSpPr>
              <p:cNvPr id="283" name="Group 282">
                <a:extLst>
                  <a:ext uri="{FF2B5EF4-FFF2-40B4-BE49-F238E27FC236}">
                    <a16:creationId xmlns:a16="http://schemas.microsoft.com/office/drawing/2014/main" id="{11653E5B-FB23-3B4E-958B-E3E2240245D0}"/>
                  </a:ext>
                </a:extLst>
              </p:cNvPr>
              <p:cNvGrpSpPr/>
              <p:nvPr/>
            </p:nvGrpSpPr>
            <p:grpSpPr>
              <a:xfrm>
                <a:off x="1440179" y="3626739"/>
                <a:ext cx="45349" cy="729866"/>
                <a:chOff x="1440179" y="3626739"/>
                <a:chExt cx="45349" cy="729866"/>
              </a:xfrm>
              <a:grpFill/>
            </p:grpSpPr>
            <p:sp>
              <p:nvSpPr>
                <p:cNvPr id="284" name="Freeform: Shape 369">
                  <a:extLst>
                    <a:ext uri="{FF2B5EF4-FFF2-40B4-BE49-F238E27FC236}">
                      <a16:creationId xmlns:a16="http://schemas.microsoft.com/office/drawing/2014/main" id="{22F64FFE-74C7-E245-964E-601F3985887F}"/>
                    </a:ext>
                  </a:extLst>
                </p:cNvPr>
                <p:cNvSpPr/>
                <p:nvPr/>
              </p:nvSpPr>
              <p:spPr>
                <a:xfrm>
                  <a:off x="1440179" y="3626739"/>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85" name="Freeform: Shape 370">
                  <a:extLst>
                    <a:ext uri="{FF2B5EF4-FFF2-40B4-BE49-F238E27FC236}">
                      <a16:creationId xmlns:a16="http://schemas.microsoft.com/office/drawing/2014/main" id="{20A2278C-2A2B-A547-BCAC-9F95C93CB000}"/>
                    </a:ext>
                  </a:extLst>
                </p:cNvPr>
                <p:cNvSpPr/>
                <p:nvPr/>
              </p:nvSpPr>
              <p:spPr>
                <a:xfrm>
                  <a:off x="1440179" y="4311256"/>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grpSp>
        <p:sp>
          <p:nvSpPr>
            <p:cNvPr id="223" name="Freeform: Shape 305">
              <a:extLst>
                <a:ext uri="{FF2B5EF4-FFF2-40B4-BE49-F238E27FC236}">
                  <a16:creationId xmlns:a16="http://schemas.microsoft.com/office/drawing/2014/main" id="{12FBE8CE-BC3E-0246-A647-CBBBB8410DFE}"/>
                </a:ext>
              </a:extLst>
            </p:cNvPr>
            <p:cNvSpPr/>
            <p:nvPr/>
          </p:nvSpPr>
          <p:spPr>
            <a:xfrm>
              <a:off x="2229938" y="1116996"/>
              <a:ext cx="26396" cy="299364"/>
            </a:xfrm>
            <a:custGeom>
              <a:avLst/>
              <a:gdLst>
                <a:gd name="connsiteX0" fmla="*/ 21248 w 42497"/>
                <a:gd name="connsiteY0" fmla="*/ 481967 h 481967"/>
                <a:gd name="connsiteX1" fmla="*/ 21248 w 42497"/>
                <a:gd name="connsiteY1" fmla="*/ 481967 h 481967"/>
                <a:gd name="connsiteX2" fmla="*/ 0 w 42497"/>
                <a:gd name="connsiteY2" fmla="*/ 460719 h 481967"/>
                <a:gd name="connsiteX3" fmla="*/ 0 w 42497"/>
                <a:gd name="connsiteY3" fmla="*/ 21249 h 481967"/>
                <a:gd name="connsiteX4" fmla="*/ 21248 w 42497"/>
                <a:gd name="connsiteY4" fmla="*/ 0 h 481967"/>
                <a:gd name="connsiteX5" fmla="*/ 21248 w 42497"/>
                <a:gd name="connsiteY5" fmla="*/ 0 h 481967"/>
                <a:gd name="connsiteX6" fmla="*/ 42497 w 42497"/>
                <a:gd name="connsiteY6" fmla="*/ 21249 h 481967"/>
                <a:gd name="connsiteX7" fmla="*/ 42497 w 42497"/>
                <a:gd name="connsiteY7" fmla="*/ 460719 h 481967"/>
                <a:gd name="connsiteX8" fmla="*/ 21248 w 42497"/>
                <a:gd name="connsiteY8" fmla="*/ 481967 h 48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97" h="481967">
                  <a:moveTo>
                    <a:pt x="21248" y="481967"/>
                  </a:moveTo>
                  <a:lnTo>
                    <a:pt x="21248" y="481967"/>
                  </a:lnTo>
                  <a:cubicBezTo>
                    <a:pt x="9507" y="481967"/>
                    <a:pt x="0" y="472460"/>
                    <a:pt x="0" y="460719"/>
                  </a:cubicBezTo>
                  <a:lnTo>
                    <a:pt x="0" y="21249"/>
                  </a:lnTo>
                  <a:cubicBezTo>
                    <a:pt x="0" y="9507"/>
                    <a:pt x="9507" y="0"/>
                    <a:pt x="21248" y="0"/>
                  </a:cubicBezTo>
                  <a:lnTo>
                    <a:pt x="21248" y="0"/>
                  </a:lnTo>
                  <a:cubicBezTo>
                    <a:pt x="32990" y="0"/>
                    <a:pt x="42497" y="9507"/>
                    <a:pt x="42497" y="21249"/>
                  </a:cubicBezTo>
                  <a:lnTo>
                    <a:pt x="42497" y="460719"/>
                  </a:lnTo>
                  <a:cubicBezTo>
                    <a:pt x="42497" y="472460"/>
                    <a:pt x="32990" y="481967"/>
                    <a:pt x="21248" y="481967"/>
                  </a:cubicBezTo>
                  <a:close/>
                </a:path>
              </a:pathLst>
            </a:custGeom>
            <a:solidFill>
              <a:srgbClr val="00BCEB"/>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4" name="Freeform: Shape 306">
              <a:extLst>
                <a:ext uri="{FF2B5EF4-FFF2-40B4-BE49-F238E27FC236}">
                  <a16:creationId xmlns:a16="http://schemas.microsoft.com/office/drawing/2014/main" id="{AD6E4733-2B2E-E84B-A1D1-F208533373C9}"/>
                </a:ext>
              </a:extLst>
            </p:cNvPr>
            <p:cNvSpPr/>
            <p:nvPr/>
          </p:nvSpPr>
          <p:spPr>
            <a:xfrm>
              <a:off x="2203718" y="992810"/>
              <a:ext cx="80133" cy="79365"/>
            </a:xfrm>
            <a:custGeom>
              <a:avLst/>
              <a:gdLst>
                <a:gd name="connsiteX0" fmla="*/ 102535 w 129012"/>
                <a:gd name="connsiteY0" fmla="*/ 127777 h 127776"/>
                <a:gd name="connsiteX1" fmla="*/ 26478 w 129012"/>
                <a:gd name="connsiteY1" fmla="*/ 127777 h 127776"/>
                <a:gd name="connsiteX2" fmla="*/ 0 w 129012"/>
                <a:gd name="connsiteY2" fmla="*/ 101299 h 127776"/>
                <a:gd name="connsiteX3" fmla="*/ 0 w 129012"/>
                <a:gd name="connsiteY3" fmla="*/ 26477 h 127776"/>
                <a:gd name="connsiteX4" fmla="*/ 26478 w 129012"/>
                <a:gd name="connsiteY4" fmla="*/ 0 h 127776"/>
                <a:gd name="connsiteX5" fmla="*/ 102535 w 129012"/>
                <a:gd name="connsiteY5" fmla="*/ 0 h 127776"/>
                <a:gd name="connsiteX6" fmla="*/ 129012 w 129012"/>
                <a:gd name="connsiteY6" fmla="*/ 26477 h 127776"/>
                <a:gd name="connsiteX7" fmla="*/ 129012 w 129012"/>
                <a:gd name="connsiteY7" fmla="*/ 101299 h 127776"/>
                <a:gd name="connsiteX8" fmla="*/ 102535 w 129012"/>
                <a:gd name="connsiteY8" fmla="*/ 127777 h 12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012" h="127776">
                  <a:moveTo>
                    <a:pt x="102535" y="127777"/>
                  </a:moveTo>
                  <a:lnTo>
                    <a:pt x="26478" y="127777"/>
                  </a:lnTo>
                  <a:cubicBezTo>
                    <a:pt x="11836" y="127777"/>
                    <a:pt x="0" y="115893"/>
                    <a:pt x="0" y="101299"/>
                  </a:cubicBezTo>
                  <a:lnTo>
                    <a:pt x="0" y="26477"/>
                  </a:lnTo>
                  <a:cubicBezTo>
                    <a:pt x="0" y="11836"/>
                    <a:pt x="11884" y="0"/>
                    <a:pt x="26478" y="0"/>
                  </a:cubicBezTo>
                  <a:lnTo>
                    <a:pt x="102535" y="0"/>
                  </a:lnTo>
                  <a:cubicBezTo>
                    <a:pt x="117176" y="0"/>
                    <a:pt x="129012" y="11884"/>
                    <a:pt x="129012" y="26477"/>
                  </a:cubicBezTo>
                  <a:lnTo>
                    <a:pt x="129012" y="101299"/>
                  </a:lnTo>
                  <a:cubicBezTo>
                    <a:pt x="129012" y="115893"/>
                    <a:pt x="117176" y="127777"/>
                    <a:pt x="102535" y="127777"/>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5" name="Freeform: Shape 307">
              <a:extLst>
                <a:ext uri="{FF2B5EF4-FFF2-40B4-BE49-F238E27FC236}">
                  <a16:creationId xmlns:a16="http://schemas.microsoft.com/office/drawing/2014/main" id="{15A5FEA6-0212-0C4C-9F07-7359D485E621}"/>
                </a:ext>
              </a:extLst>
            </p:cNvPr>
            <p:cNvSpPr/>
            <p:nvPr/>
          </p:nvSpPr>
          <p:spPr>
            <a:xfrm>
              <a:off x="1128320" y="1871416"/>
              <a:ext cx="96756" cy="95841"/>
            </a:xfrm>
            <a:custGeom>
              <a:avLst/>
              <a:gdLst>
                <a:gd name="connsiteX0" fmla="*/ 123784 w 155775"/>
                <a:gd name="connsiteY0" fmla="*/ 154302 h 154301"/>
                <a:gd name="connsiteX1" fmla="*/ 31992 w 155775"/>
                <a:gd name="connsiteY1" fmla="*/ 154302 h 154301"/>
                <a:gd name="connsiteX2" fmla="*/ 0 w 155775"/>
                <a:gd name="connsiteY2" fmla="*/ 122310 h 154301"/>
                <a:gd name="connsiteX3" fmla="*/ 0 w 155775"/>
                <a:gd name="connsiteY3" fmla="*/ 31992 h 154301"/>
                <a:gd name="connsiteX4" fmla="*/ 31992 w 155775"/>
                <a:gd name="connsiteY4" fmla="*/ 0 h 154301"/>
                <a:gd name="connsiteX5" fmla="*/ 123784 w 155775"/>
                <a:gd name="connsiteY5" fmla="*/ 0 h 154301"/>
                <a:gd name="connsiteX6" fmla="*/ 155775 w 155775"/>
                <a:gd name="connsiteY6" fmla="*/ 31992 h 154301"/>
                <a:gd name="connsiteX7" fmla="*/ 155775 w 155775"/>
                <a:gd name="connsiteY7" fmla="*/ 122310 h 154301"/>
                <a:gd name="connsiteX8" fmla="*/ 123784 w 155775"/>
                <a:gd name="connsiteY8" fmla="*/ 154302 h 15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75" h="154301">
                  <a:moveTo>
                    <a:pt x="123784" y="154302"/>
                  </a:moveTo>
                  <a:lnTo>
                    <a:pt x="31992" y="154302"/>
                  </a:lnTo>
                  <a:cubicBezTo>
                    <a:pt x="14308" y="154302"/>
                    <a:pt x="0" y="139993"/>
                    <a:pt x="0" y="122310"/>
                  </a:cubicBezTo>
                  <a:lnTo>
                    <a:pt x="0" y="31992"/>
                  </a:lnTo>
                  <a:cubicBezTo>
                    <a:pt x="0" y="14308"/>
                    <a:pt x="14308" y="0"/>
                    <a:pt x="31992" y="0"/>
                  </a:cubicBezTo>
                  <a:lnTo>
                    <a:pt x="123784" y="0"/>
                  </a:lnTo>
                  <a:cubicBezTo>
                    <a:pt x="141467" y="0"/>
                    <a:pt x="155775" y="14308"/>
                    <a:pt x="155775" y="31992"/>
                  </a:cubicBezTo>
                  <a:lnTo>
                    <a:pt x="155775" y="122310"/>
                  </a:lnTo>
                  <a:cubicBezTo>
                    <a:pt x="155775" y="139993"/>
                    <a:pt x="141467" y="154302"/>
                    <a:pt x="123784" y="154302"/>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6" name="Freeform: Shape 308">
              <a:extLst>
                <a:ext uri="{FF2B5EF4-FFF2-40B4-BE49-F238E27FC236}">
                  <a16:creationId xmlns:a16="http://schemas.microsoft.com/office/drawing/2014/main" id="{4F00C36D-3C9F-4A4C-BFCB-00540E3589FC}"/>
                </a:ext>
              </a:extLst>
            </p:cNvPr>
            <p:cNvSpPr/>
            <p:nvPr/>
          </p:nvSpPr>
          <p:spPr>
            <a:xfrm>
              <a:off x="3175274" y="1336935"/>
              <a:ext cx="102071" cy="101185"/>
            </a:xfrm>
            <a:custGeom>
              <a:avLst/>
              <a:gdLst>
                <a:gd name="connsiteX0" fmla="*/ 126398 w 164331"/>
                <a:gd name="connsiteY0" fmla="*/ 162906 h 162905"/>
                <a:gd name="connsiteX1" fmla="*/ 37934 w 164331"/>
                <a:gd name="connsiteY1" fmla="*/ 162906 h 162905"/>
                <a:gd name="connsiteX2" fmla="*/ 0 w 164331"/>
                <a:gd name="connsiteY2" fmla="*/ 124972 h 162905"/>
                <a:gd name="connsiteX3" fmla="*/ 0 w 164331"/>
                <a:gd name="connsiteY3" fmla="*/ 37934 h 162905"/>
                <a:gd name="connsiteX4" fmla="*/ 37934 w 164331"/>
                <a:gd name="connsiteY4" fmla="*/ 0 h 162905"/>
                <a:gd name="connsiteX5" fmla="*/ 126398 w 164331"/>
                <a:gd name="connsiteY5" fmla="*/ 0 h 162905"/>
                <a:gd name="connsiteX6" fmla="*/ 164332 w 164331"/>
                <a:gd name="connsiteY6" fmla="*/ 37934 h 162905"/>
                <a:gd name="connsiteX7" fmla="*/ 164332 w 164331"/>
                <a:gd name="connsiteY7" fmla="*/ 124972 h 162905"/>
                <a:gd name="connsiteX8" fmla="*/ 126398 w 164331"/>
                <a:gd name="connsiteY8" fmla="*/ 162906 h 162905"/>
                <a:gd name="connsiteX9" fmla="*/ 37934 w 164331"/>
                <a:gd name="connsiteY9" fmla="*/ 14213 h 162905"/>
                <a:gd name="connsiteX10" fmla="*/ 14261 w 164331"/>
                <a:gd name="connsiteY10" fmla="*/ 37886 h 162905"/>
                <a:gd name="connsiteX11" fmla="*/ 14261 w 164331"/>
                <a:gd name="connsiteY11" fmla="*/ 124925 h 162905"/>
                <a:gd name="connsiteX12" fmla="*/ 37934 w 164331"/>
                <a:gd name="connsiteY12" fmla="*/ 148597 h 162905"/>
                <a:gd name="connsiteX13" fmla="*/ 126398 w 164331"/>
                <a:gd name="connsiteY13" fmla="*/ 148597 h 162905"/>
                <a:gd name="connsiteX14" fmla="*/ 150071 w 164331"/>
                <a:gd name="connsiteY14" fmla="*/ 124925 h 162905"/>
                <a:gd name="connsiteX15" fmla="*/ 150071 w 164331"/>
                <a:gd name="connsiteY15" fmla="*/ 37886 h 162905"/>
                <a:gd name="connsiteX16" fmla="*/ 126398 w 164331"/>
                <a:gd name="connsiteY16" fmla="*/ 14213 h 162905"/>
                <a:gd name="connsiteX17" fmla="*/ 37934 w 164331"/>
                <a:gd name="connsiteY17" fmla="*/ 14213 h 16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331" h="162905">
                  <a:moveTo>
                    <a:pt x="126398" y="162906"/>
                  </a:moveTo>
                  <a:lnTo>
                    <a:pt x="37934" y="162906"/>
                  </a:lnTo>
                  <a:cubicBezTo>
                    <a:pt x="17018" y="162906"/>
                    <a:pt x="0" y="145888"/>
                    <a:pt x="0" y="124972"/>
                  </a:cubicBezTo>
                  <a:lnTo>
                    <a:pt x="0" y="37934"/>
                  </a:lnTo>
                  <a:cubicBezTo>
                    <a:pt x="0" y="17018"/>
                    <a:pt x="17018" y="0"/>
                    <a:pt x="37934" y="0"/>
                  </a:cubicBezTo>
                  <a:lnTo>
                    <a:pt x="126398" y="0"/>
                  </a:lnTo>
                  <a:cubicBezTo>
                    <a:pt x="147314" y="0"/>
                    <a:pt x="164332" y="17018"/>
                    <a:pt x="164332" y="37934"/>
                  </a:cubicBezTo>
                  <a:lnTo>
                    <a:pt x="164332" y="124972"/>
                  </a:lnTo>
                  <a:cubicBezTo>
                    <a:pt x="164332" y="145888"/>
                    <a:pt x="147314" y="162906"/>
                    <a:pt x="126398" y="162906"/>
                  </a:cubicBezTo>
                  <a:close/>
                  <a:moveTo>
                    <a:pt x="37934" y="14213"/>
                  </a:moveTo>
                  <a:cubicBezTo>
                    <a:pt x="24861" y="14213"/>
                    <a:pt x="14261" y="24861"/>
                    <a:pt x="14261" y="37886"/>
                  </a:cubicBezTo>
                  <a:lnTo>
                    <a:pt x="14261" y="124925"/>
                  </a:lnTo>
                  <a:cubicBezTo>
                    <a:pt x="14261" y="137997"/>
                    <a:pt x="24909" y="148597"/>
                    <a:pt x="37934" y="148597"/>
                  </a:cubicBezTo>
                  <a:lnTo>
                    <a:pt x="126398" y="148597"/>
                  </a:lnTo>
                  <a:cubicBezTo>
                    <a:pt x="139470" y="148597"/>
                    <a:pt x="150071" y="137949"/>
                    <a:pt x="150071" y="124925"/>
                  </a:cubicBezTo>
                  <a:lnTo>
                    <a:pt x="150071" y="37886"/>
                  </a:lnTo>
                  <a:cubicBezTo>
                    <a:pt x="150071" y="24814"/>
                    <a:pt x="139423" y="14213"/>
                    <a:pt x="126398" y="14213"/>
                  </a:cubicBezTo>
                  <a:lnTo>
                    <a:pt x="37934" y="14213"/>
                  </a:ln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27" name="Freeform: Shape 309">
              <a:extLst>
                <a:ext uri="{FF2B5EF4-FFF2-40B4-BE49-F238E27FC236}">
                  <a16:creationId xmlns:a16="http://schemas.microsoft.com/office/drawing/2014/main" id="{FCBF7685-8A76-464F-807E-7A755401CE23}"/>
                </a:ext>
              </a:extLst>
            </p:cNvPr>
            <p:cNvSpPr/>
            <p:nvPr/>
          </p:nvSpPr>
          <p:spPr>
            <a:xfrm>
              <a:off x="2184733" y="637966"/>
              <a:ext cx="94484" cy="94484"/>
            </a:xfrm>
            <a:custGeom>
              <a:avLst/>
              <a:gdLst>
                <a:gd name="connsiteX0" fmla="*/ 152115 w 152115"/>
                <a:gd name="connsiteY0" fmla="*/ 76058 h 152115"/>
                <a:gd name="connsiteX1" fmla="*/ 76058 w 152115"/>
                <a:gd name="connsiteY1" fmla="*/ 152115 h 152115"/>
                <a:gd name="connsiteX2" fmla="*/ 0 w 152115"/>
                <a:gd name="connsiteY2" fmla="*/ 76058 h 152115"/>
                <a:gd name="connsiteX3" fmla="*/ 76058 w 152115"/>
                <a:gd name="connsiteY3" fmla="*/ 0 h 152115"/>
                <a:gd name="connsiteX4" fmla="*/ 152115 w 152115"/>
                <a:gd name="connsiteY4" fmla="*/ 76058 h 152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15" h="152115">
                  <a:moveTo>
                    <a:pt x="152115" y="76058"/>
                  </a:moveTo>
                  <a:cubicBezTo>
                    <a:pt x="152115" y="118063"/>
                    <a:pt x="118063" y="152115"/>
                    <a:pt x="76058" y="152115"/>
                  </a:cubicBezTo>
                  <a:cubicBezTo>
                    <a:pt x="34052" y="152115"/>
                    <a:pt x="0" y="118063"/>
                    <a:pt x="0" y="76058"/>
                  </a:cubicBezTo>
                  <a:cubicBezTo>
                    <a:pt x="0" y="34052"/>
                    <a:pt x="34052" y="0"/>
                    <a:pt x="76058" y="0"/>
                  </a:cubicBezTo>
                  <a:cubicBezTo>
                    <a:pt x="118063" y="0"/>
                    <a:pt x="152115" y="34052"/>
                    <a:pt x="152115" y="76058"/>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nvGrpSpPr>
            <p:cNvPr id="228" name="Graphic 1">
              <a:extLst>
                <a:ext uri="{FF2B5EF4-FFF2-40B4-BE49-F238E27FC236}">
                  <a16:creationId xmlns:a16="http://schemas.microsoft.com/office/drawing/2014/main" id="{CF56EDFA-0B6E-9645-B2C8-F645CA90F99E}"/>
                </a:ext>
              </a:extLst>
            </p:cNvPr>
            <p:cNvGrpSpPr/>
            <p:nvPr/>
          </p:nvGrpSpPr>
          <p:grpSpPr>
            <a:xfrm>
              <a:off x="624672" y="775447"/>
              <a:ext cx="999678" cy="999678"/>
              <a:chOff x="1587124" y="912209"/>
              <a:chExt cx="1609449" cy="1609449"/>
            </a:xfrm>
            <a:solidFill>
              <a:srgbClr val="0D274D"/>
            </a:solidFill>
          </p:grpSpPr>
          <p:sp>
            <p:nvSpPr>
              <p:cNvPr id="259" name="Freeform: Shape 344">
                <a:extLst>
                  <a:ext uri="{FF2B5EF4-FFF2-40B4-BE49-F238E27FC236}">
                    <a16:creationId xmlns:a16="http://schemas.microsoft.com/office/drawing/2014/main" id="{E4B2A075-D990-B74D-985A-B673CE263B14}"/>
                  </a:ext>
                </a:extLst>
              </p:cNvPr>
              <p:cNvSpPr/>
              <p:nvPr/>
            </p:nvSpPr>
            <p:spPr>
              <a:xfrm>
                <a:off x="2110876" y="1435960"/>
                <a:ext cx="1038827" cy="1038779"/>
              </a:xfrm>
              <a:custGeom>
                <a:avLst/>
                <a:gdLst>
                  <a:gd name="connsiteX0" fmla="*/ 1018589 w 1038827"/>
                  <a:gd name="connsiteY0" fmla="*/ 3458 h 1038779"/>
                  <a:gd name="connsiteX1" fmla="*/ 3458 w 1038827"/>
                  <a:gd name="connsiteY1" fmla="*/ 1018589 h 1038779"/>
                  <a:gd name="connsiteX2" fmla="*/ 3458 w 1038827"/>
                  <a:gd name="connsiteY2" fmla="*/ 1035322 h 1038779"/>
                  <a:gd name="connsiteX3" fmla="*/ 20191 w 1038827"/>
                  <a:gd name="connsiteY3" fmla="*/ 1035322 h 1038779"/>
                  <a:gd name="connsiteX4" fmla="*/ 1035369 w 1038827"/>
                  <a:gd name="connsiteY4" fmla="*/ 20191 h 1038779"/>
                  <a:gd name="connsiteX5" fmla="*/ 1035369 w 1038827"/>
                  <a:gd name="connsiteY5" fmla="*/ 3458 h 1038779"/>
                  <a:gd name="connsiteX6" fmla="*/ 1018589 w 1038827"/>
                  <a:gd name="connsiteY6" fmla="*/ 3458 h 103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827" h="1038779">
                    <a:moveTo>
                      <a:pt x="1018589" y="3458"/>
                    </a:moveTo>
                    <a:lnTo>
                      <a:pt x="3458" y="1018589"/>
                    </a:lnTo>
                    <a:cubicBezTo>
                      <a:pt x="-1153" y="1023200"/>
                      <a:pt x="-1153" y="1030711"/>
                      <a:pt x="3458" y="1035322"/>
                    </a:cubicBezTo>
                    <a:cubicBezTo>
                      <a:pt x="8069" y="1039933"/>
                      <a:pt x="15580" y="1039933"/>
                      <a:pt x="20191" y="1035322"/>
                    </a:cubicBezTo>
                    <a:lnTo>
                      <a:pt x="1035369" y="20191"/>
                    </a:lnTo>
                    <a:cubicBezTo>
                      <a:pt x="1039980" y="15580"/>
                      <a:pt x="1039980" y="8069"/>
                      <a:pt x="1035369" y="3458"/>
                    </a:cubicBezTo>
                    <a:cubicBezTo>
                      <a:pt x="1030711" y="-1153"/>
                      <a:pt x="1023248" y="-1153"/>
                      <a:pt x="101858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0" name="Freeform: Shape 345">
                <a:extLst>
                  <a:ext uri="{FF2B5EF4-FFF2-40B4-BE49-F238E27FC236}">
                    <a16:creationId xmlns:a16="http://schemas.microsoft.com/office/drawing/2014/main" id="{34705AE5-AE07-3F4D-A762-879DB4E8D06D}"/>
                  </a:ext>
                </a:extLst>
              </p:cNvPr>
              <p:cNvSpPr/>
              <p:nvPr/>
            </p:nvSpPr>
            <p:spPr>
              <a:xfrm>
                <a:off x="2036197" y="1361287"/>
                <a:ext cx="1082132" cy="1082174"/>
              </a:xfrm>
              <a:custGeom>
                <a:avLst/>
                <a:gdLst>
                  <a:gd name="connsiteX0" fmla="*/ 1061990 w 1082132"/>
                  <a:gd name="connsiteY0" fmla="*/ 3452 h 1082174"/>
                  <a:gd name="connsiteX1" fmla="*/ 3458 w 1082132"/>
                  <a:gd name="connsiteY1" fmla="*/ 1061983 h 1082174"/>
                  <a:gd name="connsiteX2" fmla="*/ 3458 w 1082132"/>
                  <a:gd name="connsiteY2" fmla="*/ 1078716 h 1082174"/>
                  <a:gd name="connsiteX3" fmla="*/ 20191 w 1082132"/>
                  <a:gd name="connsiteY3" fmla="*/ 1078716 h 1082174"/>
                  <a:gd name="connsiteX4" fmla="*/ 1078675 w 1082132"/>
                  <a:gd name="connsiteY4" fmla="*/ 20233 h 1082174"/>
                  <a:gd name="connsiteX5" fmla="*/ 1078675 w 1082132"/>
                  <a:gd name="connsiteY5" fmla="*/ 3500 h 1082174"/>
                  <a:gd name="connsiteX6" fmla="*/ 1061990 w 1082132"/>
                  <a:gd name="connsiteY6" fmla="*/ 3452 h 108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32" h="1082174">
                    <a:moveTo>
                      <a:pt x="1061990" y="3452"/>
                    </a:moveTo>
                    <a:lnTo>
                      <a:pt x="3458" y="1061983"/>
                    </a:lnTo>
                    <a:cubicBezTo>
                      <a:pt x="-1153" y="1066594"/>
                      <a:pt x="-1153" y="1074105"/>
                      <a:pt x="3458" y="1078716"/>
                    </a:cubicBezTo>
                    <a:cubicBezTo>
                      <a:pt x="8069" y="1083327"/>
                      <a:pt x="15580" y="1083327"/>
                      <a:pt x="20191" y="1078716"/>
                    </a:cubicBezTo>
                    <a:lnTo>
                      <a:pt x="1078675" y="20233"/>
                    </a:lnTo>
                    <a:cubicBezTo>
                      <a:pt x="1083286" y="15622"/>
                      <a:pt x="1083286" y="8111"/>
                      <a:pt x="1078675" y="3500"/>
                    </a:cubicBezTo>
                    <a:cubicBezTo>
                      <a:pt x="1074111" y="-1159"/>
                      <a:pt x="1066601" y="-1159"/>
                      <a:pt x="1061990" y="345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1" name="Freeform: Shape 346">
                <a:extLst>
                  <a:ext uri="{FF2B5EF4-FFF2-40B4-BE49-F238E27FC236}">
                    <a16:creationId xmlns:a16="http://schemas.microsoft.com/office/drawing/2014/main" id="{DA7C2195-7337-5A42-8FA4-E5911B4F75EA}"/>
                  </a:ext>
                </a:extLst>
              </p:cNvPr>
              <p:cNvSpPr/>
              <p:nvPr/>
            </p:nvSpPr>
            <p:spPr>
              <a:xfrm>
                <a:off x="1967602" y="1292651"/>
                <a:ext cx="1113459" cy="1113494"/>
              </a:xfrm>
              <a:custGeom>
                <a:avLst/>
                <a:gdLst>
                  <a:gd name="connsiteX0" fmla="*/ 1093268 w 1113459"/>
                  <a:gd name="connsiteY0" fmla="*/ 3494 h 1113494"/>
                  <a:gd name="connsiteX1" fmla="*/ 3458 w 1113459"/>
                  <a:gd name="connsiteY1" fmla="*/ 1093304 h 1113494"/>
                  <a:gd name="connsiteX2" fmla="*/ 3458 w 1113459"/>
                  <a:gd name="connsiteY2" fmla="*/ 1110036 h 1113494"/>
                  <a:gd name="connsiteX3" fmla="*/ 20191 w 1113459"/>
                  <a:gd name="connsiteY3" fmla="*/ 1110036 h 1113494"/>
                  <a:gd name="connsiteX4" fmla="*/ 1110001 w 1113459"/>
                  <a:gd name="connsiteY4" fmla="*/ 20227 h 1113494"/>
                  <a:gd name="connsiteX5" fmla="*/ 1110001 w 1113459"/>
                  <a:gd name="connsiteY5" fmla="*/ 3494 h 1113494"/>
                  <a:gd name="connsiteX6" fmla="*/ 1093268 w 1113459"/>
                  <a:gd name="connsiteY6" fmla="*/ 3494 h 111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459" h="1113494">
                    <a:moveTo>
                      <a:pt x="1093268" y="3494"/>
                    </a:moveTo>
                    <a:lnTo>
                      <a:pt x="3458" y="1093304"/>
                    </a:lnTo>
                    <a:cubicBezTo>
                      <a:pt x="-1153" y="1097915"/>
                      <a:pt x="-1153" y="1105425"/>
                      <a:pt x="3458" y="1110036"/>
                    </a:cubicBezTo>
                    <a:cubicBezTo>
                      <a:pt x="8069" y="1114647"/>
                      <a:pt x="15580" y="1114647"/>
                      <a:pt x="20191" y="1110036"/>
                    </a:cubicBezTo>
                    <a:lnTo>
                      <a:pt x="1110001" y="20227"/>
                    </a:lnTo>
                    <a:cubicBezTo>
                      <a:pt x="1114612" y="15616"/>
                      <a:pt x="1114612" y="8105"/>
                      <a:pt x="1110001" y="3494"/>
                    </a:cubicBezTo>
                    <a:cubicBezTo>
                      <a:pt x="1105390" y="-1165"/>
                      <a:pt x="1097879" y="-1165"/>
                      <a:pt x="1093268"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2" name="Freeform: Shape 347">
                <a:extLst>
                  <a:ext uri="{FF2B5EF4-FFF2-40B4-BE49-F238E27FC236}">
                    <a16:creationId xmlns:a16="http://schemas.microsoft.com/office/drawing/2014/main" id="{D940CF8F-27C0-F24B-BB09-4B093CA3A998}"/>
                  </a:ext>
                </a:extLst>
              </p:cNvPr>
              <p:cNvSpPr/>
              <p:nvPr/>
            </p:nvSpPr>
            <p:spPr>
              <a:xfrm>
                <a:off x="2192352" y="1517401"/>
                <a:ext cx="981832" cy="981867"/>
              </a:xfrm>
              <a:custGeom>
                <a:avLst/>
                <a:gdLst>
                  <a:gd name="connsiteX0" fmla="*/ 961641 w 981832"/>
                  <a:gd name="connsiteY0" fmla="*/ 3494 h 981867"/>
                  <a:gd name="connsiteX1" fmla="*/ 3458 w 981832"/>
                  <a:gd name="connsiteY1" fmla="*/ 961676 h 981867"/>
                  <a:gd name="connsiteX2" fmla="*/ 3458 w 981832"/>
                  <a:gd name="connsiteY2" fmla="*/ 978409 h 981867"/>
                  <a:gd name="connsiteX3" fmla="*/ 20191 w 981832"/>
                  <a:gd name="connsiteY3" fmla="*/ 978409 h 981867"/>
                  <a:gd name="connsiteX4" fmla="*/ 978374 w 981832"/>
                  <a:gd name="connsiteY4" fmla="*/ 20227 h 981867"/>
                  <a:gd name="connsiteX5" fmla="*/ 978374 w 981832"/>
                  <a:gd name="connsiteY5" fmla="*/ 3494 h 981867"/>
                  <a:gd name="connsiteX6" fmla="*/ 961641 w 981832"/>
                  <a:gd name="connsiteY6" fmla="*/ 3494 h 98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32" h="981867">
                    <a:moveTo>
                      <a:pt x="961641" y="3494"/>
                    </a:moveTo>
                    <a:lnTo>
                      <a:pt x="3458" y="961676"/>
                    </a:lnTo>
                    <a:cubicBezTo>
                      <a:pt x="-1153" y="966287"/>
                      <a:pt x="-1153" y="973798"/>
                      <a:pt x="3458" y="978409"/>
                    </a:cubicBezTo>
                    <a:cubicBezTo>
                      <a:pt x="8069" y="983020"/>
                      <a:pt x="15580" y="983020"/>
                      <a:pt x="20191" y="978409"/>
                    </a:cubicBezTo>
                    <a:lnTo>
                      <a:pt x="978374" y="20227"/>
                    </a:lnTo>
                    <a:cubicBezTo>
                      <a:pt x="982985" y="15616"/>
                      <a:pt x="982985" y="8105"/>
                      <a:pt x="978374" y="3494"/>
                    </a:cubicBezTo>
                    <a:cubicBezTo>
                      <a:pt x="973763" y="-1165"/>
                      <a:pt x="966252" y="-1165"/>
                      <a:pt x="961641"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3" name="Freeform: Shape 348">
                <a:extLst>
                  <a:ext uri="{FF2B5EF4-FFF2-40B4-BE49-F238E27FC236}">
                    <a16:creationId xmlns:a16="http://schemas.microsoft.com/office/drawing/2014/main" id="{DF17CD21-C1E8-0247-A340-9C7C1FF0B295}"/>
                  </a:ext>
                </a:extLst>
              </p:cNvPr>
              <p:cNvSpPr/>
              <p:nvPr/>
            </p:nvSpPr>
            <p:spPr>
              <a:xfrm>
                <a:off x="2866223" y="2191307"/>
                <a:ext cx="163927" cy="163927"/>
              </a:xfrm>
              <a:custGeom>
                <a:avLst/>
                <a:gdLst>
                  <a:gd name="connsiteX0" fmla="*/ 143737 w 163927"/>
                  <a:gd name="connsiteY0" fmla="*/ 3458 h 163927"/>
                  <a:gd name="connsiteX1" fmla="*/ 3458 w 163927"/>
                  <a:gd name="connsiteY1" fmla="*/ 143737 h 163927"/>
                  <a:gd name="connsiteX2" fmla="*/ 3458 w 163927"/>
                  <a:gd name="connsiteY2" fmla="*/ 160470 h 163927"/>
                  <a:gd name="connsiteX3" fmla="*/ 20191 w 163927"/>
                  <a:gd name="connsiteY3" fmla="*/ 160470 h 163927"/>
                  <a:gd name="connsiteX4" fmla="*/ 160470 w 163927"/>
                  <a:gd name="connsiteY4" fmla="*/ 20191 h 163927"/>
                  <a:gd name="connsiteX5" fmla="*/ 160470 w 163927"/>
                  <a:gd name="connsiteY5" fmla="*/ 3458 h 163927"/>
                  <a:gd name="connsiteX6" fmla="*/ 143737 w 163927"/>
                  <a:gd name="connsiteY6" fmla="*/ 3458 h 16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27">
                    <a:moveTo>
                      <a:pt x="143737" y="3458"/>
                    </a:moveTo>
                    <a:lnTo>
                      <a:pt x="3458" y="143737"/>
                    </a:lnTo>
                    <a:cubicBezTo>
                      <a:pt x="-1153" y="148348"/>
                      <a:pt x="-1153" y="155859"/>
                      <a:pt x="3458" y="160470"/>
                    </a:cubicBezTo>
                    <a:cubicBezTo>
                      <a:pt x="8069" y="165081"/>
                      <a:pt x="15580" y="165081"/>
                      <a:pt x="20191" y="160470"/>
                    </a:cubicBezTo>
                    <a:lnTo>
                      <a:pt x="160470" y="20191"/>
                    </a:lnTo>
                    <a:cubicBezTo>
                      <a:pt x="165081" y="15580"/>
                      <a:pt x="165081" y="8069"/>
                      <a:pt x="160470" y="3458"/>
                    </a:cubicBezTo>
                    <a:cubicBezTo>
                      <a:pt x="155859" y="-1153"/>
                      <a:pt x="148348" y="-1153"/>
                      <a:pt x="143737"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4" name="Freeform: Shape 349">
                <a:extLst>
                  <a:ext uri="{FF2B5EF4-FFF2-40B4-BE49-F238E27FC236}">
                    <a16:creationId xmlns:a16="http://schemas.microsoft.com/office/drawing/2014/main" id="{546F8CFA-2F4E-2747-9D97-4221E2A6F321}"/>
                  </a:ext>
                </a:extLst>
              </p:cNvPr>
              <p:cNvSpPr/>
              <p:nvPr/>
            </p:nvSpPr>
            <p:spPr>
              <a:xfrm>
                <a:off x="2636148" y="1961233"/>
                <a:ext cx="518070" cy="518070"/>
              </a:xfrm>
              <a:custGeom>
                <a:avLst/>
                <a:gdLst>
                  <a:gd name="connsiteX0" fmla="*/ 497880 w 518070"/>
                  <a:gd name="connsiteY0" fmla="*/ 3458 h 518070"/>
                  <a:gd name="connsiteX1" fmla="*/ 3458 w 518070"/>
                  <a:gd name="connsiteY1" fmla="*/ 497880 h 518070"/>
                  <a:gd name="connsiteX2" fmla="*/ 3458 w 518070"/>
                  <a:gd name="connsiteY2" fmla="*/ 514613 h 518070"/>
                  <a:gd name="connsiteX3" fmla="*/ 20191 w 518070"/>
                  <a:gd name="connsiteY3" fmla="*/ 514613 h 518070"/>
                  <a:gd name="connsiteX4" fmla="*/ 514613 w 518070"/>
                  <a:gd name="connsiteY4" fmla="*/ 20191 h 518070"/>
                  <a:gd name="connsiteX5" fmla="*/ 514613 w 518070"/>
                  <a:gd name="connsiteY5" fmla="*/ 3458 h 518070"/>
                  <a:gd name="connsiteX6" fmla="*/ 497880 w 518070"/>
                  <a:gd name="connsiteY6" fmla="*/ 3458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497880" y="3458"/>
                    </a:moveTo>
                    <a:lnTo>
                      <a:pt x="3458" y="497880"/>
                    </a:lnTo>
                    <a:cubicBezTo>
                      <a:pt x="-1153" y="502491"/>
                      <a:pt x="-1153" y="510002"/>
                      <a:pt x="3458" y="514613"/>
                    </a:cubicBezTo>
                    <a:cubicBezTo>
                      <a:pt x="8069" y="519224"/>
                      <a:pt x="15580" y="519224"/>
                      <a:pt x="20191" y="514613"/>
                    </a:cubicBezTo>
                    <a:lnTo>
                      <a:pt x="514613" y="20191"/>
                    </a:lnTo>
                    <a:cubicBezTo>
                      <a:pt x="519224" y="15580"/>
                      <a:pt x="519224" y="8069"/>
                      <a:pt x="514613" y="3458"/>
                    </a:cubicBezTo>
                    <a:cubicBezTo>
                      <a:pt x="510002" y="-1153"/>
                      <a:pt x="502539" y="-1153"/>
                      <a:pt x="497880"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5" name="Freeform: Shape 350">
                <a:extLst>
                  <a:ext uri="{FF2B5EF4-FFF2-40B4-BE49-F238E27FC236}">
                    <a16:creationId xmlns:a16="http://schemas.microsoft.com/office/drawing/2014/main" id="{C406C09A-E074-AC40-B2CD-5C536714F1B2}"/>
                  </a:ext>
                </a:extLst>
              </p:cNvPr>
              <p:cNvSpPr/>
              <p:nvPr/>
            </p:nvSpPr>
            <p:spPr>
              <a:xfrm>
                <a:off x="2281958" y="1607042"/>
                <a:ext cx="908579" cy="908578"/>
              </a:xfrm>
              <a:custGeom>
                <a:avLst/>
                <a:gdLst>
                  <a:gd name="connsiteX0" fmla="*/ 888388 w 908579"/>
                  <a:gd name="connsiteY0" fmla="*/ 3458 h 908578"/>
                  <a:gd name="connsiteX1" fmla="*/ 3458 w 908579"/>
                  <a:gd name="connsiteY1" fmla="*/ 888388 h 908578"/>
                  <a:gd name="connsiteX2" fmla="*/ 3458 w 908579"/>
                  <a:gd name="connsiteY2" fmla="*/ 905121 h 908578"/>
                  <a:gd name="connsiteX3" fmla="*/ 20191 w 908579"/>
                  <a:gd name="connsiteY3" fmla="*/ 905121 h 908578"/>
                  <a:gd name="connsiteX4" fmla="*/ 905121 w 908579"/>
                  <a:gd name="connsiteY4" fmla="*/ 20191 h 908578"/>
                  <a:gd name="connsiteX5" fmla="*/ 905121 w 908579"/>
                  <a:gd name="connsiteY5" fmla="*/ 3458 h 908578"/>
                  <a:gd name="connsiteX6" fmla="*/ 888388 w 908579"/>
                  <a:gd name="connsiteY6" fmla="*/ 3458 h 90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78">
                    <a:moveTo>
                      <a:pt x="888388" y="3458"/>
                    </a:moveTo>
                    <a:lnTo>
                      <a:pt x="3458" y="888388"/>
                    </a:lnTo>
                    <a:cubicBezTo>
                      <a:pt x="-1153" y="892999"/>
                      <a:pt x="-1153" y="900510"/>
                      <a:pt x="3458" y="905121"/>
                    </a:cubicBezTo>
                    <a:cubicBezTo>
                      <a:pt x="8069" y="909732"/>
                      <a:pt x="15580" y="909732"/>
                      <a:pt x="20191" y="905121"/>
                    </a:cubicBezTo>
                    <a:lnTo>
                      <a:pt x="905121" y="20191"/>
                    </a:lnTo>
                    <a:cubicBezTo>
                      <a:pt x="909732" y="15580"/>
                      <a:pt x="909732" y="8069"/>
                      <a:pt x="905121" y="3458"/>
                    </a:cubicBezTo>
                    <a:cubicBezTo>
                      <a:pt x="900510" y="-1153"/>
                      <a:pt x="892999" y="-1153"/>
                      <a:pt x="888388"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6" name="Freeform: Shape 351">
                <a:extLst>
                  <a:ext uri="{FF2B5EF4-FFF2-40B4-BE49-F238E27FC236}">
                    <a16:creationId xmlns:a16="http://schemas.microsoft.com/office/drawing/2014/main" id="{5CA57916-E684-BD49-9702-7AFB9C5868A0}"/>
                  </a:ext>
                </a:extLst>
              </p:cNvPr>
              <p:cNvSpPr/>
              <p:nvPr/>
            </p:nvSpPr>
            <p:spPr>
              <a:xfrm>
                <a:off x="2496393" y="1821441"/>
                <a:ext cx="691672" cy="691707"/>
              </a:xfrm>
              <a:custGeom>
                <a:avLst/>
                <a:gdLst>
                  <a:gd name="connsiteX0" fmla="*/ 671482 w 691672"/>
                  <a:gd name="connsiteY0" fmla="*/ 3494 h 691707"/>
                  <a:gd name="connsiteX1" fmla="*/ 3458 w 691672"/>
                  <a:gd name="connsiteY1" fmla="*/ 671517 h 691707"/>
                  <a:gd name="connsiteX2" fmla="*/ 3458 w 691672"/>
                  <a:gd name="connsiteY2" fmla="*/ 688250 h 691707"/>
                  <a:gd name="connsiteX3" fmla="*/ 20191 w 691672"/>
                  <a:gd name="connsiteY3" fmla="*/ 688250 h 691707"/>
                  <a:gd name="connsiteX4" fmla="*/ 688214 w 691672"/>
                  <a:gd name="connsiteY4" fmla="*/ 20227 h 691707"/>
                  <a:gd name="connsiteX5" fmla="*/ 688214 w 691672"/>
                  <a:gd name="connsiteY5" fmla="*/ 3494 h 691707"/>
                  <a:gd name="connsiteX6" fmla="*/ 671482 w 691672"/>
                  <a:gd name="connsiteY6" fmla="*/ 3494 h 69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672" h="691707">
                    <a:moveTo>
                      <a:pt x="671482" y="3494"/>
                    </a:moveTo>
                    <a:lnTo>
                      <a:pt x="3458" y="671517"/>
                    </a:lnTo>
                    <a:cubicBezTo>
                      <a:pt x="-1153" y="676128"/>
                      <a:pt x="-1153" y="683639"/>
                      <a:pt x="3458" y="688250"/>
                    </a:cubicBezTo>
                    <a:cubicBezTo>
                      <a:pt x="8069" y="692861"/>
                      <a:pt x="15580" y="692861"/>
                      <a:pt x="20191" y="688250"/>
                    </a:cubicBezTo>
                    <a:lnTo>
                      <a:pt x="688214" y="20227"/>
                    </a:lnTo>
                    <a:cubicBezTo>
                      <a:pt x="692825" y="15616"/>
                      <a:pt x="692825" y="8105"/>
                      <a:pt x="688214" y="3494"/>
                    </a:cubicBezTo>
                    <a:cubicBezTo>
                      <a:pt x="683603" y="-1165"/>
                      <a:pt x="676093" y="-1165"/>
                      <a:pt x="671482"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7" name="Freeform: Shape 352">
                <a:extLst>
                  <a:ext uri="{FF2B5EF4-FFF2-40B4-BE49-F238E27FC236}">
                    <a16:creationId xmlns:a16="http://schemas.microsoft.com/office/drawing/2014/main" id="{039BFD15-AC0B-3843-A101-AD1574D97E78}"/>
                  </a:ext>
                </a:extLst>
              </p:cNvPr>
              <p:cNvSpPr/>
              <p:nvPr/>
            </p:nvSpPr>
            <p:spPr>
              <a:xfrm>
                <a:off x="2381878" y="1706963"/>
                <a:ext cx="814695" cy="814695"/>
              </a:xfrm>
              <a:custGeom>
                <a:avLst/>
                <a:gdLst>
                  <a:gd name="connsiteX0" fmla="*/ 794505 w 814695"/>
                  <a:gd name="connsiteY0" fmla="*/ 3458 h 814695"/>
                  <a:gd name="connsiteX1" fmla="*/ 3458 w 814695"/>
                  <a:gd name="connsiteY1" fmla="*/ 794504 h 814695"/>
                  <a:gd name="connsiteX2" fmla="*/ 3458 w 814695"/>
                  <a:gd name="connsiteY2" fmla="*/ 811237 h 814695"/>
                  <a:gd name="connsiteX3" fmla="*/ 20191 w 814695"/>
                  <a:gd name="connsiteY3" fmla="*/ 811237 h 814695"/>
                  <a:gd name="connsiteX4" fmla="*/ 811237 w 814695"/>
                  <a:gd name="connsiteY4" fmla="*/ 20191 h 814695"/>
                  <a:gd name="connsiteX5" fmla="*/ 811237 w 814695"/>
                  <a:gd name="connsiteY5" fmla="*/ 3458 h 814695"/>
                  <a:gd name="connsiteX6" fmla="*/ 794505 w 814695"/>
                  <a:gd name="connsiteY6" fmla="*/ 3458 h 8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695" h="814695">
                    <a:moveTo>
                      <a:pt x="794505" y="3458"/>
                    </a:moveTo>
                    <a:lnTo>
                      <a:pt x="3458" y="794504"/>
                    </a:lnTo>
                    <a:cubicBezTo>
                      <a:pt x="-1153" y="799115"/>
                      <a:pt x="-1153" y="806626"/>
                      <a:pt x="3458" y="811237"/>
                    </a:cubicBezTo>
                    <a:cubicBezTo>
                      <a:pt x="8069" y="815848"/>
                      <a:pt x="15580" y="815848"/>
                      <a:pt x="20191" y="811237"/>
                    </a:cubicBezTo>
                    <a:lnTo>
                      <a:pt x="811237" y="20191"/>
                    </a:lnTo>
                    <a:cubicBezTo>
                      <a:pt x="815848" y="15580"/>
                      <a:pt x="815848" y="8069"/>
                      <a:pt x="811237" y="3458"/>
                    </a:cubicBezTo>
                    <a:cubicBezTo>
                      <a:pt x="806626" y="-1153"/>
                      <a:pt x="799163" y="-1153"/>
                      <a:pt x="794505"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8" name="Freeform: Shape 353">
                <a:extLst>
                  <a:ext uri="{FF2B5EF4-FFF2-40B4-BE49-F238E27FC236}">
                    <a16:creationId xmlns:a16="http://schemas.microsoft.com/office/drawing/2014/main" id="{ADE272FB-D098-B84D-8733-DC8C76559FAB}"/>
                  </a:ext>
                </a:extLst>
              </p:cNvPr>
              <p:cNvSpPr/>
              <p:nvPr/>
            </p:nvSpPr>
            <p:spPr>
              <a:xfrm>
                <a:off x="1904427" y="1229512"/>
                <a:ext cx="1133757" cy="1133756"/>
              </a:xfrm>
              <a:custGeom>
                <a:avLst/>
                <a:gdLst>
                  <a:gd name="connsiteX0" fmla="*/ 1113566 w 1133757"/>
                  <a:gd name="connsiteY0" fmla="*/ 3458 h 1133756"/>
                  <a:gd name="connsiteX1" fmla="*/ 3458 w 1133757"/>
                  <a:gd name="connsiteY1" fmla="*/ 1113566 h 1133756"/>
                  <a:gd name="connsiteX2" fmla="*/ 3458 w 1133757"/>
                  <a:gd name="connsiteY2" fmla="*/ 1130298 h 1133756"/>
                  <a:gd name="connsiteX3" fmla="*/ 20191 w 1133757"/>
                  <a:gd name="connsiteY3" fmla="*/ 1130298 h 1133756"/>
                  <a:gd name="connsiteX4" fmla="*/ 1130299 w 1133757"/>
                  <a:gd name="connsiteY4" fmla="*/ 20191 h 1133756"/>
                  <a:gd name="connsiteX5" fmla="*/ 1130299 w 1133757"/>
                  <a:gd name="connsiteY5" fmla="*/ 3458 h 1133756"/>
                  <a:gd name="connsiteX6" fmla="*/ 1113566 w 1133757"/>
                  <a:gd name="connsiteY6" fmla="*/ 345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1113566" y="3458"/>
                    </a:moveTo>
                    <a:lnTo>
                      <a:pt x="3458" y="1113566"/>
                    </a:lnTo>
                    <a:cubicBezTo>
                      <a:pt x="-1153" y="1118177"/>
                      <a:pt x="-1153" y="1125687"/>
                      <a:pt x="3458" y="1130298"/>
                    </a:cubicBezTo>
                    <a:cubicBezTo>
                      <a:pt x="8069" y="1134909"/>
                      <a:pt x="15580" y="1134909"/>
                      <a:pt x="20191" y="1130298"/>
                    </a:cubicBezTo>
                    <a:lnTo>
                      <a:pt x="1130299" y="20191"/>
                    </a:lnTo>
                    <a:cubicBezTo>
                      <a:pt x="1134910" y="15580"/>
                      <a:pt x="1134910" y="8069"/>
                      <a:pt x="1130299" y="3458"/>
                    </a:cubicBezTo>
                    <a:cubicBezTo>
                      <a:pt x="1125688" y="-1153"/>
                      <a:pt x="1118225" y="-1153"/>
                      <a:pt x="1113566"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69" name="Freeform: Shape 354">
                <a:extLst>
                  <a:ext uri="{FF2B5EF4-FFF2-40B4-BE49-F238E27FC236}">
                    <a16:creationId xmlns:a16="http://schemas.microsoft.com/office/drawing/2014/main" id="{10A5D597-8000-3D4F-997E-B1EF340D6E8F}"/>
                  </a:ext>
                </a:extLst>
              </p:cNvPr>
              <p:cNvSpPr/>
              <p:nvPr/>
            </p:nvSpPr>
            <p:spPr>
              <a:xfrm>
                <a:off x="1846480" y="1171565"/>
                <a:ext cx="1143739" cy="1143739"/>
              </a:xfrm>
              <a:custGeom>
                <a:avLst/>
                <a:gdLst>
                  <a:gd name="connsiteX0" fmla="*/ 1123549 w 1143739"/>
                  <a:gd name="connsiteY0" fmla="*/ 3458 h 1143739"/>
                  <a:gd name="connsiteX1" fmla="*/ 3458 w 1143739"/>
                  <a:gd name="connsiteY1" fmla="*/ 1123548 h 1143739"/>
                  <a:gd name="connsiteX2" fmla="*/ 3458 w 1143739"/>
                  <a:gd name="connsiteY2" fmla="*/ 1140281 h 1143739"/>
                  <a:gd name="connsiteX3" fmla="*/ 20191 w 1143739"/>
                  <a:gd name="connsiteY3" fmla="*/ 1140281 h 1143739"/>
                  <a:gd name="connsiteX4" fmla="*/ 1140282 w 1143739"/>
                  <a:gd name="connsiteY4" fmla="*/ 20191 h 1143739"/>
                  <a:gd name="connsiteX5" fmla="*/ 1140282 w 1143739"/>
                  <a:gd name="connsiteY5" fmla="*/ 3458 h 1143739"/>
                  <a:gd name="connsiteX6" fmla="*/ 1123549 w 1143739"/>
                  <a:gd name="connsiteY6" fmla="*/ 3458 h 114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9">
                    <a:moveTo>
                      <a:pt x="1123549" y="3458"/>
                    </a:moveTo>
                    <a:lnTo>
                      <a:pt x="3458" y="1123548"/>
                    </a:lnTo>
                    <a:cubicBezTo>
                      <a:pt x="-1153" y="1128159"/>
                      <a:pt x="-1153" y="1135670"/>
                      <a:pt x="3458" y="1140281"/>
                    </a:cubicBezTo>
                    <a:cubicBezTo>
                      <a:pt x="8069" y="1144892"/>
                      <a:pt x="15580" y="1144892"/>
                      <a:pt x="20191" y="1140281"/>
                    </a:cubicBezTo>
                    <a:lnTo>
                      <a:pt x="1140282" y="20191"/>
                    </a:lnTo>
                    <a:cubicBezTo>
                      <a:pt x="1144893" y="15580"/>
                      <a:pt x="1144893" y="8069"/>
                      <a:pt x="1140282" y="3458"/>
                    </a:cubicBezTo>
                    <a:cubicBezTo>
                      <a:pt x="1135671" y="-1153"/>
                      <a:pt x="1128160" y="-1153"/>
                      <a:pt x="112354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0" name="Freeform: Shape 355">
                <a:extLst>
                  <a:ext uri="{FF2B5EF4-FFF2-40B4-BE49-F238E27FC236}">
                    <a16:creationId xmlns:a16="http://schemas.microsoft.com/office/drawing/2014/main" id="{3988BAFC-64A5-1348-9773-785671241B3D}"/>
                  </a:ext>
                </a:extLst>
              </p:cNvPr>
              <p:cNvSpPr/>
              <p:nvPr/>
            </p:nvSpPr>
            <p:spPr>
              <a:xfrm>
                <a:off x="1629479" y="954564"/>
                <a:ext cx="518070" cy="518070"/>
              </a:xfrm>
              <a:custGeom>
                <a:avLst/>
                <a:gdLst>
                  <a:gd name="connsiteX0" fmla="*/ 20191 w 518070"/>
                  <a:gd name="connsiteY0" fmla="*/ 514613 h 518070"/>
                  <a:gd name="connsiteX1" fmla="*/ 514613 w 518070"/>
                  <a:gd name="connsiteY1" fmla="*/ 20191 h 518070"/>
                  <a:gd name="connsiteX2" fmla="*/ 514613 w 518070"/>
                  <a:gd name="connsiteY2" fmla="*/ 3458 h 518070"/>
                  <a:gd name="connsiteX3" fmla="*/ 497880 w 518070"/>
                  <a:gd name="connsiteY3" fmla="*/ 3458 h 518070"/>
                  <a:gd name="connsiteX4" fmla="*/ 3458 w 518070"/>
                  <a:gd name="connsiteY4" fmla="*/ 497880 h 518070"/>
                  <a:gd name="connsiteX5" fmla="*/ 3458 w 518070"/>
                  <a:gd name="connsiteY5" fmla="*/ 514613 h 518070"/>
                  <a:gd name="connsiteX6" fmla="*/ 20191 w 518070"/>
                  <a:gd name="connsiteY6" fmla="*/ 514613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20191" y="514613"/>
                    </a:moveTo>
                    <a:lnTo>
                      <a:pt x="514613" y="20191"/>
                    </a:lnTo>
                    <a:cubicBezTo>
                      <a:pt x="519224" y="15580"/>
                      <a:pt x="519224" y="8069"/>
                      <a:pt x="514613" y="3458"/>
                    </a:cubicBezTo>
                    <a:cubicBezTo>
                      <a:pt x="510002" y="-1153"/>
                      <a:pt x="502491" y="-1153"/>
                      <a:pt x="497880" y="3458"/>
                    </a:cubicBezTo>
                    <a:lnTo>
                      <a:pt x="3458" y="497880"/>
                    </a:lnTo>
                    <a:cubicBezTo>
                      <a:pt x="-1153" y="502491"/>
                      <a:pt x="-1153" y="510002"/>
                      <a:pt x="3458" y="514613"/>
                    </a:cubicBezTo>
                    <a:cubicBezTo>
                      <a:pt x="8069" y="519223"/>
                      <a:pt x="15580" y="519223"/>
                      <a:pt x="20191" y="51461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1" name="Freeform: Shape 356">
                <a:extLst>
                  <a:ext uri="{FF2B5EF4-FFF2-40B4-BE49-F238E27FC236}">
                    <a16:creationId xmlns:a16="http://schemas.microsoft.com/office/drawing/2014/main" id="{B5B03718-CE29-9245-BCD5-A380D6589F6D}"/>
                  </a:ext>
                </a:extLst>
              </p:cNvPr>
              <p:cNvSpPr/>
              <p:nvPr/>
            </p:nvSpPr>
            <p:spPr>
              <a:xfrm>
                <a:off x="1753595" y="1078632"/>
                <a:ext cx="163927" cy="163963"/>
              </a:xfrm>
              <a:custGeom>
                <a:avLst/>
                <a:gdLst>
                  <a:gd name="connsiteX0" fmla="*/ 20191 w 163927"/>
                  <a:gd name="connsiteY0" fmla="*/ 160470 h 163963"/>
                  <a:gd name="connsiteX1" fmla="*/ 160470 w 163927"/>
                  <a:gd name="connsiteY1" fmla="*/ 20191 h 163963"/>
                  <a:gd name="connsiteX2" fmla="*/ 160470 w 163927"/>
                  <a:gd name="connsiteY2" fmla="*/ 3458 h 163963"/>
                  <a:gd name="connsiteX3" fmla="*/ 143737 w 163927"/>
                  <a:gd name="connsiteY3" fmla="*/ 3458 h 163963"/>
                  <a:gd name="connsiteX4" fmla="*/ 3458 w 163927"/>
                  <a:gd name="connsiteY4" fmla="*/ 143737 h 163963"/>
                  <a:gd name="connsiteX5" fmla="*/ 3458 w 163927"/>
                  <a:gd name="connsiteY5" fmla="*/ 160470 h 163963"/>
                  <a:gd name="connsiteX6" fmla="*/ 20191 w 163927"/>
                  <a:gd name="connsiteY6" fmla="*/ 160470 h 1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63">
                    <a:moveTo>
                      <a:pt x="20191" y="160470"/>
                    </a:moveTo>
                    <a:lnTo>
                      <a:pt x="160470" y="20191"/>
                    </a:lnTo>
                    <a:cubicBezTo>
                      <a:pt x="165081" y="15580"/>
                      <a:pt x="165081" y="8069"/>
                      <a:pt x="160470" y="3458"/>
                    </a:cubicBezTo>
                    <a:cubicBezTo>
                      <a:pt x="155859" y="-1153"/>
                      <a:pt x="148348" y="-1153"/>
                      <a:pt x="143737" y="3458"/>
                    </a:cubicBezTo>
                    <a:lnTo>
                      <a:pt x="3458" y="143737"/>
                    </a:lnTo>
                    <a:cubicBezTo>
                      <a:pt x="-1153" y="148348"/>
                      <a:pt x="-1153" y="155859"/>
                      <a:pt x="3458" y="160470"/>
                    </a:cubicBezTo>
                    <a:cubicBezTo>
                      <a:pt x="8069" y="165128"/>
                      <a:pt x="15532" y="165128"/>
                      <a:pt x="20191" y="160470"/>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2" name="Freeform: Shape 357">
                <a:extLst>
                  <a:ext uri="{FF2B5EF4-FFF2-40B4-BE49-F238E27FC236}">
                    <a16:creationId xmlns:a16="http://schemas.microsoft.com/office/drawing/2014/main" id="{C085257A-786B-EA4A-93EF-64CAA79461A2}"/>
                  </a:ext>
                </a:extLst>
              </p:cNvPr>
              <p:cNvSpPr/>
              <p:nvPr/>
            </p:nvSpPr>
            <p:spPr>
              <a:xfrm>
                <a:off x="1593161" y="918294"/>
                <a:ext cx="908579" cy="908566"/>
              </a:xfrm>
              <a:custGeom>
                <a:avLst/>
                <a:gdLst>
                  <a:gd name="connsiteX0" fmla="*/ 20238 w 908579"/>
                  <a:gd name="connsiteY0" fmla="*/ 905073 h 908566"/>
                  <a:gd name="connsiteX1" fmla="*/ 905121 w 908579"/>
                  <a:gd name="connsiteY1" fmla="*/ 20191 h 908566"/>
                  <a:gd name="connsiteX2" fmla="*/ 905121 w 908579"/>
                  <a:gd name="connsiteY2" fmla="*/ 3458 h 908566"/>
                  <a:gd name="connsiteX3" fmla="*/ 888388 w 908579"/>
                  <a:gd name="connsiteY3" fmla="*/ 3458 h 908566"/>
                  <a:gd name="connsiteX4" fmla="*/ 3458 w 908579"/>
                  <a:gd name="connsiteY4" fmla="*/ 888340 h 908566"/>
                  <a:gd name="connsiteX5" fmla="*/ 3458 w 908579"/>
                  <a:gd name="connsiteY5" fmla="*/ 905073 h 908566"/>
                  <a:gd name="connsiteX6" fmla="*/ 20238 w 908579"/>
                  <a:gd name="connsiteY6" fmla="*/ 905073 h 9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66">
                    <a:moveTo>
                      <a:pt x="20238" y="905073"/>
                    </a:moveTo>
                    <a:lnTo>
                      <a:pt x="905121" y="20191"/>
                    </a:lnTo>
                    <a:cubicBezTo>
                      <a:pt x="909732" y="15580"/>
                      <a:pt x="909732" y="8069"/>
                      <a:pt x="905121" y="3458"/>
                    </a:cubicBezTo>
                    <a:cubicBezTo>
                      <a:pt x="900510" y="-1153"/>
                      <a:pt x="892999" y="-1153"/>
                      <a:pt x="888388" y="3458"/>
                    </a:cubicBezTo>
                    <a:lnTo>
                      <a:pt x="3458" y="888340"/>
                    </a:lnTo>
                    <a:cubicBezTo>
                      <a:pt x="-1153" y="892951"/>
                      <a:pt x="-1153" y="900462"/>
                      <a:pt x="3458" y="905073"/>
                    </a:cubicBezTo>
                    <a:cubicBezTo>
                      <a:pt x="8117" y="909731"/>
                      <a:pt x="15580" y="909731"/>
                      <a:pt x="20238" y="90507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3" name="Freeform: Shape 358">
                <a:extLst>
                  <a:ext uri="{FF2B5EF4-FFF2-40B4-BE49-F238E27FC236}">
                    <a16:creationId xmlns:a16="http://schemas.microsoft.com/office/drawing/2014/main" id="{15F39D4A-0B5F-914D-9514-C6A4F89B5BF8}"/>
                  </a:ext>
                </a:extLst>
              </p:cNvPr>
              <p:cNvSpPr/>
              <p:nvPr/>
            </p:nvSpPr>
            <p:spPr>
              <a:xfrm>
                <a:off x="1587124" y="912209"/>
                <a:ext cx="814743" cy="814736"/>
              </a:xfrm>
              <a:custGeom>
                <a:avLst/>
                <a:gdLst>
                  <a:gd name="connsiteX0" fmla="*/ 20191 w 814743"/>
                  <a:gd name="connsiteY0" fmla="*/ 811285 h 814736"/>
                  <a:gd name="connsiteX1" fmla="*/ 811285 w 814743"/>
                  <a:gd name="connsiteY1" fmla="*/ 20191 h 814736"/>
                  <a:gd name="connsiteX2" fmla="*/ 811285 w 814743"/>
                  <a:gd name="connsiteY2" fmla="*/ 3458 h 814736"/>
                  <a:gd name="connsiteX3" fmla="*/ 794552 w 814743"/>
                  <a:gd name="connsiteY3" fmla="*/ 3458 h 814736"/>
                  <a:gd name="connsiteX4" fmla="*/ 3458 w 814743"/>
                  <a:gd name="connsiteY4" fmla="*/ 794504 h 814736"/>
                  <a:gd name="connsiteX5" fmla="*/ 3458 w 814743"/>
                  <a:gd name="connsiteY5" fmla="*/ 811237 h 814736"/>
                  <a:gd name="connsiteX6" fmla="*/ 20191 w 814743"/>
                  <a:gd name="connsiteY6" fmla="*/ 811285 h 8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743" h="814736">
                    <a:moveTo>
                      <a:pt x="20191" y="811285"/>
                    </a:moveTo>
                    <a:lnTo>
                      <a:pt x="811285" y="20191"/>
                    </a:lnTo>
                    <a:cubicBezTo>
                      <a:pt x="815896" y="15580"/>
                      <a:pt x="815896" y="8069"/>
                      <a:pt x="811285" y="3458"/>
                    </a:cubicBezTo>
                    <a:cubicBezTo>
                      <a:pt x="806674" y="-1153"/>
                      <a:pt x="799163" y="-1153"/>
                      <a:pt x="794552" y="3458"/>
                    </a:cubicBezTo>
                    <a:lnTo>
                      <a:pt x="3458" y="794504"/>
                    </a:lnTo>
                    <a:cubicBezTo>
                      <a:pt x="-1153" y="799115"/>
                      <a:pt x="-1153" y="806626"/>
                      <a:pt x="3458" y="811237"/>
                    </a:cubicBezTo>
                    <a:cubicBezTo>
                      <a:pt x="8069" y="815895"/>
                      <a:pt x="15580" y="815895"/>
                      <a:pt x="20191" y="81128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4" name="Freeform: Shape 359">
                <a:extLst>
                  <a:ext uri="{FF2B5EF4-FFF2-40B4-BE49-F238E27FC236}">
                    <a16:creationId xmlns:a16="http://schemas.microsoft.com/office/drawing/2014/main" id="{184D9F78-B8D1-C749-A896-0F0B7EBD4DAC}"/>
                  </a:ext>
                </a:extLst>
              </p:cNvPr>
              <p:cNvSpPr/>
              <p:nvPr/>
            </p:nvSpPr>
            <p:spPr>
              <a:xfrm>
                <a:off x="1595633" y="920765"/>
                <a:ext cx="691719" cy="691666"/>
              </a:xfrm>
              <a:custGeom>
                <a:avLst/>
                <a:gdLst>
                  <a:gd name="connsiteX0" fmla="*/ 20238 w 691719"/>
                  <a:gd name="connsiteY0" fmla="*/ 688214 h 691666"/>
                  <a:gd name="connsiteX1" fmla="*/ 688262 w 691719"/>
                  <a:gd name="connsiteY1" fmla="*/ 20191 h 691666"/>
                  <a:gd name="connsiteX2" fmla="*/ 688262 w 691719"/>
                  <a:gd name="connsiteY2" fmla="*/ 3458 h 691666"/>
                  <a:gd name="connsiteX3" fmla="*/ 671529 w 691719"/>
                  <a:gd name="connsiteY3" fmla="*/ 3458 h 691666"/>
                  <a:gd name="connsiteX4" fmla="*/ 3458 w 691719"/>
                  <a:gd name="connsiteY4" fmla="*/ 671434 h 691666"/>
                  <a:gd name="connsiteX5" fmla="*/ 3458 w 691719"/>
                  <a:gd name="connsiteY5" fmla="*/ 688166 h 691666"/>
                  <a:gd name="connsiteX6" fmla="*/ 20238 w 691719"/>
                  <a:gd name="connsiteY6" fmla="*/ 688214 h 6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19" h="691666">
                    <a:moveTo>
                      <a:pt x="20238" y="688214"/>
                    </a:moveTo>
                    <a:lnTo>
                      <a:pt x="688262" y="20191"/>
                    </a:lnTo>
                    <a:cubicBezTo>
                      <a:pt x="692873" y="15580"/>
                      <a:pt x="692873" y="8069"/>
                      <a:pt x="688262" y="3458"/>
                    </a:cubicBezTo>
                    <a:cubicBezTo>
                      <a:pt x="683651" y="-1153"/>
                      <a:pt x="676140" y="-1153"/>
                      <a:pt x="671529" y="3458"/>
                    </a:cubicBezTo>
                    <a:lnTo>
                      <a:pt x="3458" y="671434"/>
                    </a:lnTo>
                    <a:cubicBezTo>
                      <a:pt x="-1153" y="676045"/>
                      <a:pt x="-1153" y="683555"/>
                      <a:pt x="3458" y="688166"/>
                    </a:cubicBezTo>
                    <a:cubicBezTo>
                      <a:pt x="8117" y="692825"/>
                      <a:pt x="15580" y="692825"/>
                      <a:pt x="20238" y="68821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5" name="Freeform: Shape 360">
                <a:extLst>
                  <a:ext uri="{FF2B5EF4-FFF2-40B4-BE49-F238E27FC236}">
                    <a16:creationId xmlns:a16="http://schemas.microsoft.com/office/drawing/2014/main" id="{3154E51C-8AC9-B947-8395-5D1F05EA4A5C}"/>
                  </a:ext>
                </a:extLst>
              </p:cNvPr>
              <p:cNvSpPr/>
              <p:nvPr/>
            </p:nvSpPr>
            <p:spPr>
              <a:xfrm>
                <a:off x="1609514" y="934598"/>
                <a:ext cx="981879" cy="981855"/>
              </a:xfrm>
              <a:custGeom>
                <a:avLst/>
                <a:gdLst>
                  <a:gd name="connsiteX0" fmla="*/ 20191 w 981879"/>
                  <a:gd name="connsiteY0" fmla="*/ 978421 h 981855"/>
                  <a:gd name="connsiteX1" fmla="*/ 978421 w 981879"/>
                  <a:gd name="connsiteY1" fmla="*/ 20191 h 981855"/>
                  <a:gd name="connsiteX2" fmla="*/ 978421 w 981879"/>
                  <a:gd name="connsiteY2" fmla="*/ 3458 h 981855"/>
                  <a:gd name="connsiteX3" fmla="*/ 961689 w 981879"/>
                  <a:gd name="connsiteY3" fmla="*/ 3458 h 981855"/>
                  <a:gd name="connsiteX4" fmla="*/ 3458 w 981879"/>
                  <a:gd name="connsiteY4" fmla="*/ 961641 h 981855"/>
                  <a:gd name="connsiteX5" fmla="*/ 3458 w 981879"/>
                  <a:gd name="connsiteY5" fmla="*/ 978373 h 981855"/>
                  <a:gd name="connsiteX6" fmla="*/ 20191 w 981879"/>
                  <a:gd name="connsiteY6" fmla="*/ 978421 h 9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79" h="981855">
                    <a:moveTo>
                      <a:pt x="20191" y="978421"/>
                    </a:moveTo>
                    <a:lnTo>
                      <a:pt x="978421" y="20191"/>
                    </a:lnTo>
                    <a:cubicBezTo>
                      <a:pt x="983032" y="15580"/>
                      <a:pt x="983032" y="8069"/>
                      <a:pt x="978421" y="3458"/>
                    </a:cubicBezTo>
                    <a:cubicBezTo>
                      <a:pt x="973810" y="-1153"/>
                      <a:pt x="966300" y="-1153"/>
                      <a:pt x="961689" y="3458"/>
                    </a:cubicBezTo>
                    <a:lnTo>
                      <a:pt x="3458" y="961641"/>
                    </a:lnTo>
                    <a:cubicBezTo>
                      <a:pt x="-1153" y="966252"/>
                      <a:pt x="-1153" y="973762"/>
                      <a:pt x="3458" y="978373"/>
                    </a:cubicBezTo>
                    <a:cubicBezTo>
                      <a:pt x="8069" y="982984"/>
                      <a:pt x="15580" y="983032"/>
                      <a:pt x="20191" y="97842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6" name="Freeform: Shape 361">
                <a:extLst>
                  <a:ext uri="{FF2B5EF4-FFF2-40B4-BE49-F238E27FC236}">
                    <a16:creationId xmlns:a16="http://schemas.microsoft.com/office/drawing/2014/main" id="{B3B7A590-F1F1-224C-BE0C-6EC9847CA0DA}"/>
                  </a:ext>
                </a:extLst>
              </p:cNvPr>
              <p:cNvSpPr/>
              <p:nvPr/>
            </p:nvSpPr>
            <p:spPr>
              <a:xfrm>
                <a:off x="1793478" y="1118610"/>
                <a:ext cx="1143739" cy="1143733"/>
              </a:xfrm>
              <a:custGeom>
                <a:avLst/>
                <a:gdLst>
                  <a:gd name="connsiteX0" fmla="*/ 20191 w 1143739"/>
                  <a:gd name="connsiteY0" fmla="*/ 1140281 h 1143733"/>
                  <a:gd name="connsiteX1" fmla="*/ 1140282 w 1143739"/>
                  <a:gd name="connsiteY1" fmla="*/ 20191 h 1143733"/>
                  <a:gd name="connsiteX2" fmla="*/ 1140282 w 1143739"/>
                  <a:gd name="connsiteY2" fmla="*/ 3458 h 1143733"/>
                  <a:gd name="connsiteX3" fmla="*/ 1123549 w 1143739"/>
                  <a:gd name="connsiteY3" fmla="*/ 3458 h 1143733"/>
                  <a:gd name="connsiteX4" fmla="*/ 3458 w 1143739"/>
                  <a:gd name="connsiteY4" fmla="*/ 1123501 h 1143733"/>
                  <a:gd name="connsiteX5" fmla="*/ 3458 w 1143739"/>
                  <a:gd name="connsiteY5" fmla="*/ 1140233 h 1143733"/>
                  <a:gd name="connsiteX6" fmla="*/ 20191 w 1143739"/>
                  <a:gd name="connsiteY6" fmla="*/ 1140281 h 114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3">
                    <a:moveTo>
                      <a:pt x="20191" y="1140281"/>
                    </a:moveTo>
                    <a:lnTo>
                      <a:pt x="1140282" y="20191"/>
                    </a:lnTo>
                    <a:cubicBezTo>
                      <a:pt x="1144893" y="15580"/>
                      <a:pt x="1144893" y="8069"/>
                      <a:pt x="1140282" y="3458"/>
                    </a:cubicBezTo>
                    <a:cubicBezTo>
                      <a:pt x="1135671" y="-1153"/>
                      <a:pt x="1128160" y="-1153"/>
                      <a:pt x="1123549" y="3458"/>
                    </a:cubicBezTo>
                    <a:lnTo>
                      <a:pt x="3458" y="1123501"/>
                    </a:lnTo>
                    <a:cubicBezTo>
                      <a:pt x="-1153" y="1128112"/>
                      <a:pt x="-1153" y="1135622"/>
                      <a:pt x="3458" y="1140233"/>
                    </a:cubicBezTo>
                    <a:cubicBezTo>
                      <a:pt x="8069" y="1144892"/>
                      <a:pt x="15580" y="1144892"/>
                      <a:pt x="20191" y="114028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7" name="Freeform: Shape 362">
                <a:extLst>
                  <a:ext uri="{FF2B5EF4-FFF2-40B4-BE49-F238E27FC236}">
                    <a16:creationId xmlns:a16="http://schemas.microsoft.com/office/drawing/2014/main" id="{520E7585-FB0E-E640-B7EA-63181B97317B}"/>
                  </a:ext>
                </a:extLst>
              </p:cNvPr>
              <p:cNvSpPr/>
              <p:nvPr/>
            </p:nvSpPr>
            <p:spPr>
              <a:xfrm>
                <a:off x="1745514" y="1070599"/>
                <a:ext cx="1133757" cy="1133756"/>
              </a:xfrm>
              <a:custGeom>
                <a:avLst/>
                <a:gdLst>
                  <a:gd name="connsiteX0" fmla="*/ 20191 w 1133757"/>
                  <a:gd name="connsiteY0" fmla="*/ 1130298 h 1133756"/>
                  <a:gd name="connsiteX1" fmla="*/ 1130299 w 1133757"/>
                  <a:gd name="connsiteY1" fmla="*/ 20191 h 1133756"/>
                  <a:gd name="connsiteX2" fmla="*/ 1130299 w 1133757"/>
                  <a:gd name="connsiteY2" fmla="*/ 3458 h 1133756"/>
                  <a:gd name="connsiteX3" fmla="*/ 1113566 w 1133757"/>
                  <a:gd name="connsiteY3" fmla="*/ 3458 h 1133756"/>
                  <a:gd name="connsiteX4" fmla="*/ 3458 w 1133757"/>
                  <a:gd name="connsiteY4" fmla="*/ 1113566 h 1133756"/>
                  <a:gd name="connsiteX5" fmla="*/ 3458 w 1133757"/>
                  <a:gd name="connsiteY5" fmla="*/ 1130298 h 1133756"/>
                  <a:gd name="connsiteX6" fmla="*/ 20191 w 1133757"/>
                  <a:gd name="connsiteY6" fmla="*/ 113029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20191" y="1130298"/>
                    </a:moveTo>
                    <a:lnTo>
                      <a:pt x="1130299" y="20191"/>
                    </a:lnTo>
                    <a:cubicBezTo>
                      <a:pt x="1134910" y="15580"/>
                      <a:pt x="1134910" y="8069"/>
                      <a:pt x="1130299" y="3458"/>
                    </a:cubicBezTo>
                    <a:cubicBezTo>
                      <a:pt x="1125688" y="-1153"/>
                      <a:pt x="1118177" y="-1153"/>
                      <a:pt x="1113566" y="3458"/>
                    </a:cubicBezTo>
                    <a:lnTo>
                      <a:pt x="3458" y="1113566"/>
                    </a:lnTo>
                    <a:cubicBezTo>
                      <a:pt x="-1153" y="1118177"/>
                      <a:pt x="-1153" y="1125687"/>
                      <a:pt x="3458" y="1130298"/>
                    </a:cubicBezTo>
                    <a:cubicBezTo>
                      <a:pt x="8069" y="1134909"/>
                      <a:pt x="15580" y="1134909"/>
                      <a:pt x="20191" y="113029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8" name="Freeform: Shape 363">
                <a:extLst>
                  <a:ext uri="{FF2B5EF4-FFF2-40B4-BE49-F238E27FC236}">
                    <a16:creationId xmlns:a16="http://schemas.microsoft.com/office/drawing/2014/main" id="{DE2FB581-FCD3-714A-9373-F777E3C2A529}"/>
                  </a:ext>
                </a:extLst>
              </p:cNvPr>
              <p:cNvSpPr/>
              <p:nvPr/>
            </p:nvSpPr>
            <p:spPr>
              <a:xfrm>
                <a:off x="1634042" y="959127"/>
                <a:ext cx="1038780" cy="1038815"/>
              </a:xfrm>
              <a:custGeom>
                <a:avLst/>
                <a:gdLst>
                  <a:gd name="connsiteX0" fmla="*/ 20191 w 1038780"/>
                  <a:gd name="connsiteY0" fmla="*/ 1035322 h 1038815"/>
                  <a:gd name="connsiteX1" fmla="*/ 1035322 w 1038780"/>
                  <a:gd name="connsiteY1" fmla="*/ 20191 h 1038815"/>
                  <a:gd name="connsiteX2" fmla="*/ 1035322 w 1038780"/>
                  <a:gd name="connsiteY2" fmla="*/ 3458 h 1038815"/>
                  <a:gd name="connsiteX3" fmla="*/ 1018589 w 1038780"/>
                  <a:gd name="connsiteY3" fmla="*/ 3458 h 1038815"/>
                  <a:gd name="connsiteX4" fmla="*/ 3458 w 1038780"/>
                  <a:gd name="connsiteY4" fmla="*/ 1018589 h 1038815"/>
                  <a:gd name="connsiteX5" fmla="*/ 3458 w 1038780"/>
                  <a:gd name="connsiteY5" fmla="*/ 1035322 h 1038815"/>
                  <a:gd name="connsiteX6" fmla="*/ 20191 w 1038780"/>
                  <a:gd name="connsiteY6" fmla="*/ 1035322 h 103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80" h="1038815">
                    <a:moveTo>
                      <a:pt x="20191" y="1035322"/>
                    </a:moveTo>
                    <a:lnTo>
                      <a:pt x="1035322" y="20191"/>
                    </a:lnTo>
                    <a:cubicBezTo>
                      <a:pt x="1039933" y="15580"/>
                      <a:pt x="1039933" y="8069"/>
                      <a:pt x="1035322" y="3458"/>
                    </a:cubicBezTo>
                    <a:cubicBezTo>
                      <a:pt x="1030711" y="-1153"/>
                      <a:pt x="1023200" y="-1153"/>
                      <a:pt x="1018589" y="3458"/>
                    </a:cubicBezTo>
                    <a:lnTo>
                      <a:pt x="3458" y="1018589"/>
                    </a:lnTo>
                    <a:cubicBezTo>
                      <a:pt x="-1153" y="1023200"/>
                      <a:pt x="-1153" y="1030711"/>
                      <a:pt x="3458" y="1035322"/>
                    </a:cubicBezTo>
                    <a:cubicBezTo>
                      <a:pt x="8069" y="1039980"/>
                      <a:pt x="15580" y="1039980"/>
                      <a:pt x="20191" y="103532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79" name="Freeform: Shape 364">
                <a:extLst>
                  <a:ext uri="{FF2B5EF4-FFF2-40B4-BE49-F238E27FC236}">
                    <a16:creationId xmlns:a16="http://schemas.microsoft.com/office/drawing/2014/main" id="{3BE49721-164C-E34F-BE10-2B27F275D0CC}"/>
                  </a:ext>
                </a:extLst>
              </p:cNvPr>
              <p:cNvSpPr/>
              <p:nvPr/>
            </p:nvSpPr>
            <p:spPr>
              <a:xfrm>
                <a:off x="1702637" y="1027769"/>
                <a:ext cx="1113506" cy="1113458"/>
              </a:xfrm>
              <a:custGeom>
                <a:avLst/>
                <a:gdLst>
                  <a:gd name="connsiteX0" fmla="*/ 20238 w 1113506"/>
                  <a:gd name="connsiteY0" fmla="*/ 1110001 h 1113458"/>
                  <a:gd name="connsiteX1" fmla="*/ 1110049 w 1113506"/>
                  <a:gd name="connsiteY1" fmla="*/ 20191 h 1113458"/>
                  <a:gd name="connsiteX2" fmla="*/ 1110049 w 1113506"/>
                  <a:gd name="connsiteY2" fmla="*/ 3458 h 1113458"/>
                  <a:gd name="connsiteX3" fmla="*/ 1093316 w 1113506"/>
                  <a:gd name="connsiteY3" fmla="*/ 3458 h 1113458"/>
                  <a:gd name="connsiteX4" fmla="*/ 3458 w 1113506"/>
                  <a:gd name="connsiteY4" fmla="*/ 1093268 h 1113458"/>
                  <a:gd name="connsiteX5" fmla="*/ 3458 w 1113506"/>
                  <a:gd name="connsiteY5" fmla="*/ 1110001 h 1113458"/>
                  <a:gd name="connsiteX6" fmla="*/ 20238 w 1113506"/>
                  <a:gd name="connsiteY6" fmla="*/ 1110001 h 11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506" h="1113458">
                    <a:moveTo>
                      <a:pt x="20238" y="1110001"/>
                    </a:moveTo>
                    <a:lnTo>
                      <a:pt x="1110049" y="20191"/>
                    </a:lnTo>
                    <a:cubicBezTo>
                      <a:pt x="1114660" y="15580"/>
                      <a:pt x="1114660" y="8069"/>
                      <a:pt x="1110049" y="3458"/>
                    </a:cubicBezTo>
                    <a:cubicBezTo>
                      <a:pt x="1105438" y="-1153"/>
                      <a:pt x="1097927" y="-1153"/>
                      <a:pt x="1093316" y="3458"/>
                    </a:cubicBezTo>
                    <a:lnTo>
                      <a:pt x="3458" y="1093268"/>
                    </a:lnTo>
                    <a:cubicBezTo>
                      <a:pt x="-1153" y="1097879"/>
                      <a:pt x="-1153" y="1105390"/>
                      <a:pt x="3458" y="1110001"/>
                    </a:cubicBezTo>
                    <a:cubicBezTo>
                      <a:pt x="8069" y="1114612"/>
                      <a:pt x="15627" y="1114612"/>
                      <a:pt x="20238" y="111000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80" name="Freeform: Shape 365">
                <a:extLst>
                  <a:ext uri="{FF2B5EF4-FFF2-40B4-BE49-F238E27FC236}">
                    <a16:creationId xmlns:a16="http://schemas.microsoft.com/office/drawing/2014/main" id="{8922D3C8-B91A-5D49-BC74-53EB3C658460}"/>
                  </a:ext>
                </a:extLst>
              </p:cNvPr>
              <p:cNvSpPr/>
              <p:nvPr/>
            </p:nvSpPr>
            <p:spPr>
              <a:xfrm>
                <a:off x="1665321" y="990453"/>
                <a:ext cx="1082180" cy="1082132"/>
              </a:xfrm>
              <a:custGeom>
                <a:avLst/>
                <a:gdLst>
                  <a:gd name="connsiteX0" fmla="*/ 20238 w 1082180"/>
                  <a:gd name="connsiteY0" fmla="*/ 1078674 h 1082132"/>
                  <a:gd name="connsiteX1" fmla="*/ 1078722 w 1082180"/>
                  <a:gd name="connsiteY1" fmla="*/ 20191 h 1082132"/>
                  <a:gd name="connsiteX2" fmla="*/ 1078722 w 1082180"/>
                  <a:gd name="connsiteY2" fmla="*/ 3458 h 1082132"/>
                  <a:gd name="connsiteX3" fmla="*/ 1061990 w 1082180"/>
                  <a:gd name="connsiteY3" fmla="*/ 3458 h 1082132"/>
                  <a:gd name="connsiteX4" fmla="*/ 3458 w 1082180"/>
                  <a:gd name="connsiteY4" fmla="*/ 1061942 h 1082132"/>
                  <a:gd name="connsiteX5" fmla="*/ 3458 w 1082180"/>
                  <a:gd name="connsiteY5" fmla="*/ 1078674 h 1082132"/>
                  <a:gd name="connsiteX6" fmla="*/ 20238 w 1082180"/>
                  <a:gd name="connsiteY6" fmla="*/ 1078674 h 10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80" h="1082132">
                    <a:moveTo>
                      <a:pt x="20238" y="1078674"/>
                    </a:moveTo>
                    <a:lnTo>
                      <a:pt x="1078722" y="20191"/>
                    </a:lnTo>
                    <a:cubicBezTo>
                      <a:pt x="1083333" y="15580"/>
                      <a:pt x="1083333" y="8069"/>
                      <a:pt x="1078722" y="3458"/>
                    </a:cubicBezTo>
                    <a:cubicBezTo>
                      <a:pt x="1074111" y="-1153"/>
                      <a:pt x="1066601" y="-1153"/>
                      <a:pt x="1061990" y="3458"/>
                    </a:cubicBezTo>
                    <a:lnTo>
                      <a:pt x="3458" y="1061942"/>
                    </a:lnTo>
                    <a:cubicBezTo>
                      <a:pt x="-1153" y="1066553"/>
                      <a:pt x="-1153" y="1074063"/>
                      <a:pt x="3458" y="1078674"/>
                    </a:cubicBezTo>
                    <a:cubicBezTo>
                      <a:pt x="8069" y="1083285"/>
                      <a:pt x="15580" y="1083285"/>
                      <a:pt x="20238" y="107867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sp>
          <p:nvSpPr>
            <p:cNvPr id="229" name="Freeform: Shape 342">
              <a:extLst>
                <a:ext uri="{FF2B5EF4-FFF2-40B4-BE49-F238E27FC236}">
                  <a16:creationId xmlns:a16="http://schemas.microsoft.com/office/drawing/2014/main" id="{D8318525-5640-8D41-A047-35FB73ADF7F9}"/>
                </a:ext>
              </a:extLst>
            </p:cNvPr>
            <p:cNvSpPr/>
            <p:nvPr/>
          </p:nvSpPr>
          <p:spPr>
            <a:xfrm>
              <a:off x="1461559" y="1145991"/>
              <a:ext cx="1578211" cy="1438685"/>
            </a:xfrm>
            <a:custGeom>
              <a:avLst/>
              <a:gdLst>
                <a:gd name="connsiteX0" fmla="*/ 1270435 w 2540869"/>
                <a:gd name="connsiteY0" fmla="*/ 2316238 h 2316237"/>
                <a:gd name="connsiteX1" fmla="*/ 892239 w 2540869"/>
                <a:gd name="connsiteY1" fmla="*/ 2097905 h 2316237"/>
                <a:gd name="connsiteX2" fmla="*/ 59218 w 2540869"/>
                <a:gd name="connsiteY2" fmla="*/ 655046 h 2316237"/>
                <a:gd name="connsiteX3" fmla="*/ 59218 w 2540869"/>
                <a:gd name="connsiteY3" fmla="*/ 218333 h 2316237"/>
                <a:gd name="connsiteX4" fmla="*/ 437414 w 2540869"/>
                <a:gd name="connsiteY4" fmla="*/ 0 h 2316237"/>
                <a:gd name="connsiteX5" fmla="*/ 2103456 w 2540869"/>
                <a:gd name="connsiteY5" fmla="*/ 0 h 2316237"/>
                <a:gd name="connsiteX6" fmla="*/ 2481652 w 2540869"/>
                <a:gd name="connsiteY6" fmla="*/ 218333 h 2316237"/>
                <a:gd name="connsiteX7" fmla="*/ 2481652 w 2540869"/>
                <a:gd name="connsiteY7" fmla="*/ 655046 h 2316237"/>
                <a:gd name="connsiteX8" fmla="*/ 1648631 w 2540869"/>
                <a:gd name="connsiteY8" fmla="*/ 2097857 h 2316237"/>
                <a:gd name="connsiteX9" fmla="*/ 1270435 w 2540869"/>
                <a:gd name="connsiteY9" fmla="*/ 2316238 h 2316237"/>
                <a:gd name="connsiteX10" fmla="*/ 437414 w 2540869"/>
                <a:gd name="connsiteY10" fmla="*/ 18919 h 2316237"/>
                <a:gd name="connsiteX11" fmla="*/ 75618 w 2540869"/>
                <a:gd name="connsiteY11" fmla="*/ 227792 h 2316237"/>
                <a:gd name="connsiteX12" fmla="*/ 75618 w 2540869"/>
                <a:gd name="connsiteY12" fmla="*/ 645586 h 2316237"/>
                <a:gd name="connsiteX13" fmla="*/ 908639 w 2540869"/>
                <a:gd name="connsiteY13" fmla="*/ 2088398 h 2316237"/>
                <a:gd name="connsiteX14" fmla="*/ 1270435 w 2540869"/>
                <a:gd name="connsiteY14" fmla="*/ 2297271 h 2316237"/>
                <a:gd name="connsiteX15" fmla="*/ 1632231 w 2540869"/>
                <a:gd name="connsiteY15" fmla="*/ 2088398 h 2316237"/>
                <a:gd name="connsiteX16" fmla="*/ 2465252 w 2540869"/>
                <a:gd name="connsiteY16" fmla="*/ 645586 h 2316237"/>
                <a:gd name="connsiteX17" fmla="*/ 2465252 w 2540869"/>
                <a:gd name="connsiteY17" fmla="*/ 227792 h 2316237"/>
                <a:gd name="connsiteX18" fmla="*/ 2103456 w 2540869"/>
                <a:gd name="connsiteY18" fmla="*/ 18919 h 2316237"/>
                <a:gd name="connsiteX19" fmla="*/ 437414 w 2540869"/>
                <a:gd name="connsiteY19" fmla="*/ 18919 h 231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0869" h="2316237">
                  <a:moveTo>
                    <a:pt x="1270435" y="2316238"/>
                  </a:moveTo>
                  <a:cubicBezTo>
                    <a:pt x="1112568" y="2316238"/>
                    <a:pt x="971196" y="2234618"/>
                    <a:pt x="892239" y="2097905"/>
                  </a:cubicBezTo>
                  <a:lnTo>
                    <a:pt x="59218" y="655046"/>
                  </a:lnTo>
                  <a:cubicBezTo>
                    <a:pt x="-19739" y="518332"/>
                    <a:pt x="-19739" y="355046"/>
                    <a:pt x="59218" y="218333"/>
                  </a:cubicBezTo>
                  <a:cubicBezTo>
                    <a:pt x="138175" y="81619"/>
                    <a:pt x="279547" y="0"/>
                    <a:pt x="437414" y="0"/>
                  </a:cubicBezTo>
                  <a:lnTo>
                    <a:pt x="2103456" y="0"/>
                  </a:lnTo>
                  <a:cubicBezTo>
                    <a:pt x="2261323" y="0"/>
                    <a:pt x="2402695" y="81619"/>
                    <a:pt x="2481652" y="218333"/>
                  </a:cubicBezTo>
                  <a:cubicBezTo>
                    <a:pt x="2560609" y="355046"/>
                    <a:pt x="2560609" y="518332"/>
                    <a:pt x="2481652" y="655046"/>
                  </a:cubicBezTo>
                  <a:lnTo>
                    <a:pt x="1648631" y="2097857"/>
                  </a:lnTo>
                  <a:cubicBezTo>
                    <a:pt x="1569674" y="2234571"/>
                    <a:pt x="1428302" y="2316238"/>
                    <a:pt x="1270435" y="2316238"/>
                  </a:cubicBezTo>
                  <a:close/>
                  <a:moveTo>
                    <a:pt x="437414" y="18919"/>
                  </a:moveTo>
                  <a:cubicBezTo>
                    <a:pt x="286392" y="18919"/>
                    <a:pt x="151105" y="97021"/>
                    <a:pt x="75618" y="227792"/>
                  </a:cubicBezTo>
                  <a:cubicBezTo>
                    <a:pt x="83" y="358611"/>
                    <a:pt x="83" y="514767"/>
                    <a:pt x="75618" y="645586"/>
                  </a:cubicBezTo>
                  <a:lnTo>
                    <a:pt x="908639" y="2088398"/>
                  </a:lnTo>
                  <a:cubicBezTo>
                    <a:pt x="984173" y="2219217"/>
                    <a:pt x="1119413" y="2297271"/>
                    <a:pt x="1270435" y="2297271"/>
                  </a:cubicBezTo>
                  <a:cubicBezTo>
                    <a:pt x="1421457" y="2297271"/>
                    <a:pt x="1556744" y="2219169"/>
                    <a:pt x="1632231" y="2088398"/>
                  </a:cubicBezTo>
                  <a:lnTo>
                    <a:pt x="2465252" y="645586"/>
                  </a:lnTo>
                  <a:cubicBezTo>
                    <a:pt x="2540787" y="514767"/>
                    <a:pt x="2540787" y="358611"/>
                    <a:pt x="2465252" y="227792"/>
                  </a:cubicBezTo>
                  <a:cubicBezTo>
                    <a:pt x="2389717" y="96973"/>
                    <a:pt x="2254478" y="18919"/>
                    <a:pt x="2103456" y="18919"/>
                  </a:cubicBezTo>
                  <a:lnTo>
                    <a:pt x="437414" y="18919"/>
                  </a:ln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30" name="Freeform: Shape 312">
              <a:extLst>
                <a:ext uri="{FF2B5EF4-FFF2-40B4-BE49-F238E27FC236}">
                  <a16:creationId xmlns:a16="http://schemas.microsoft.com/office/drawing/2014/main" id="{19924198-F8C3-BC46-95F2-E1479E9B6D68}"/>
                </a:ext>
              </a:extLst>
            </p:cNvPr>
            <p:cNvSpPr/>
            <p:nvPr/>
          </p:nvSpPr>
          <p:spPr>
            <a:xfrm>
              <a:off x="2229820" y="567003"/>
              <a:ext cx="1319520" cy="829486"/>
            </a:xfrm>
            <a:custGeom>
              <a:avLst/>
              <a:gdLst>
                <a:gd name="connsiteX0" fmla="*/ 1599253 w 2124383"/>
                <a:gd name="connsiteY0" fmla="*/ 1335446 h 1335446"/>
                <a:gd name="connsiteX1" fmla="*/ 1585516 w 2124383"/>
                <a:gd name="connsiteY1" fmla="*/ 1316052 h 1335446"/>
                <a:gd name="connsiteX2" fmla="*/ 2097193 w 2124383"/>
                <a:gd name="connsiteY2" fmla="*/ 621219 h 1335446"/>
                <a:gd name="connsiteX3" fmla="*/ 1989144 w 2124383"/>
                <a:gd name="connsiteY3" fmla="*/ 280100 h 1335446"/>
                <a:gd name="connsiteX4" fmla="*/ 1490444 w 2124383"/>
                <a:gd name="connsiteY4" fmla="*/ 45130 h 1335446"/>
                <a:gd name="connsiteX5" fmla="*/ 829646 w 2124383"/>
                <a:gd name="connsiteY5" fmla="*/ 44750 h 1335446"/>
                <a:gd name="connsiteX6" fmla="*/ 6893 w 2124383"/>
                <a:gd name="connsiteY6" fmla="*/ 209129 h 1335446"/>
                <a:gd name="connsiteX7" fmla="*/ 0 w 2124383"/>
                <a:gd name="connsiteY7" fmla="*/ 186359 h 1335446"/>
                <a:gd name="connsiteX8" fmla="*/ 826699 w 2124383"/>
                <a:gd name="connsiteY8" fmla="*/ 21172 h 1335446"/>
                <a:gd name="connsiteX9" fmla="*/ 1493914 w 2124383"/>
                <a:gd name="connsiteY9" fmla="*/ 21647 h 1335446"/>
                <a:gd name="connsiteX10" fmla="*/ 2007160 w 2124383"/>
                <a:gd name="connsiteY10" fmla="*/ 264699 h 1335446"/>
                <a:gd name="connsiteX11" fmla="*/ 2120723 w 2124383"/>
                <a:gd name="connsiteY11" fmla="*/ 624213 h 1335446"/>
                <a:gd name="connsiteX12" fmla="*/ 1842020 w 2124383"/>
                <a:gd name="connsiteY12" fmla="*/ 1121012 h 1335446"/>
                <a:gd name="connsiteX13" fmla="*/ 1599253 w 2124383"/>
                <a:gd name="connsiteY13" fmla="*/ 1335446 h 13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4383" h="1335446">
                  <a:moveTo>
                    <a:pt x="1599253" y="1335446"/>
                  </a:moveTo>
                  <a:lnTo>
                    <a:pt x="1585516" y="1316052"/>
                  </a:lnTo>
                  <a:cubicBezTo>
                    <a:pt x="1590174" y="1312724"/>
                    <a:pt x="2052509" y="981256"/>
                    <a:pt x="2097193" y="621219"/>
                  </a:cubicBezTo>
                  <a:cubicBezTo>
                    <a:pt x="2112642" y="496769"/>
                    <a:pt x="2076277" y="382017"/>
                    <a:pt x="1989144" y="280100"/>
                  </a:cubicBezTo>
                  <a:cubicBezTo>
                    <a:pt x="1885990" y="159407"/>
                    <a:pt x="1718188" y="80354"/>
                    <a:pt x="1490444" y="45130"/>
                  </a:cubicBezTo>
                  <a:cubicBezTo>
                    <a:pt x="1306955" y="16751"/>
                    <a:pt x="1084629" y="16609"/>
                    <a:pt x="829646" y="44750"/>
                  </a:cubicBezTo>
                  <a:cubicBezTo>
                    <a:pt x="394644" y="92761"/>
                    <a:pt x="10743" y="207988"/>
                    <a:pt x="6893" y="209129"/>
                  </a:cubicBezTo>
                  <a:lnTo>
                    <a:pt x="0" y="186359"/>
                  </a:lnTo>
                  <a:cubicBezTo>
                    <a:pt x="3850" y="185219"/>
                    <a:pt x="389605" y="69421"/>
                    <a:pt x="826699" y="21172"/>
                  </a:cubicBezTo>
                  <a:cubicBezTo>
                    <a:pt x="1083821" y="-7207"/>
                    <a:pt x="1308286" y="-7064"/>
                    <a:pt x="1493914" y="21647"/>
                  </a:cubicBezTo>
                  <a:cubicBezTo>
                    <a:pt x="1727506" y="57775"/>
                    <a:pt x="1900204" y="139537"/>
                    <a:pt x="2007160" y="264699"/>
                  </a:cubicBezTo>
                  <a:cubicBezTo>
                    <a:pt x="2098809" y="371892"/>
                    <a:pt x="2137028" y="492871"/>
                    <a:pt x="2120723" y="624213"/>
                  </a:cubicBezTo>
                  <a:cubicBezTo>
                    <a:pt x="2096622" y="818303"/>
                    <a:pt x="1955868" y="1001506"/>
                    <a:pt x="1842020" y="1121012"/>
                  </a:cubicBezTo>
                  <a:cubicBezTo>
                    <a:pt x="1719282" y="1249929"/>
                    <a:pt x="1600442" y="1334638"/>
                    <a:pt x="1599253" y="1335446"/>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nvGrpSpPr>
            <p:cNvPr id="231" name="Group 230">
              <a:extLst>
                <a:ext uri="{FF2B5EF4-FFF2-40B4-BE49-F238E27FC236}">
                  <a16:creationId xmlns:a16="http://schemas.microsoft.com/office/drawing/2014/main" id="{E7BDC297-271C-034E-84D2-950A59A2FAD2}"/>
                </a:ext>
              </a:extLst>
            </p:cNvPr>
            <p:cNvGrpSpPr/>
            <p:nvPr/>
          </p:nvGrpSpPr>
          <p:grpSpPr>
            <a:xfrm>
              <a:off x="2584900" y="2396512"/>
              <a:ext cx="422754" cy="179543"/>
              <a:chOff x="4743027" y="3522072"/>
              <a:chExt cx="680620" cy="289058"/>
            </a:xfrm>
            <a:solidFill>
              <a:srgbClr val="FBAB2C"/>
            </a:solidFill>
          </p:grpSpPr>
          <p:sp>
            <p:nvSpPr>
              <p:cNvPr id="256" name="Freeform: Shape 339">
                <a:extLst>
                  <a:ext uri="{FF2B5EF4-FFF2-40B4-BE49-F238E27FC236}">
                    <a16:creationId xmlns:a16="http://schemas.microsoft.com/office/drawing/2014/main" id="{0020A81D-E29B-4446-A526-8E31E38E4D9F}"/>
                  </a:ext>
                </a:extLst>
              </p:cNvPr>
              <p:cNvSpPr/>
              <p:nvPr/>
            </p:nvSpPr>
            <p:spPr>
              <a:xfrm>
                <a:off x="4743027" y="3522072"/>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2"/>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2"/>
                      <a:pt x="0" y="11544"/>
                    </a:cubicBezTo>
                    <a:lnTo>
                      <a:pt x="0" y="2417"/>
                    </a:lnTo>
                    <a:cubicBezTo>
                      <a:pt x="8271" y="4413"/>
                      <a:pt x="15734" y="9072"/>
                      <a:pt x="21439" y="15822"/>
                    </a:cubicBezTo>
                    <a:cubicBezTo>
                      <a:pt x="36603" y="34504"/>
                      <a:pt x="36603" y="34504"/>
                      <a:pt x="36603" y="34504"/>
                    </a:cubicBezTo>
                    <a:cubicBezTo>
                      <a:pt x="42972" y="42394"/>
                      <a:pt x="52385" y="46863"/>
                      <a:pt x="62367" y="46863"/>
                    </a:cubicBezTo>
                    <a:cubicBezTo>
                      <a:pt x="72397" y="47196"/>
                      <a:pt x="81762" y="42442"/>
                      <a:pt x="88132" y="34836"/>
                    </a:cubicBezTo>
                    <a:cubicBezTo>
                      <a:pt x="99968" y="20908"/>
                      <a:pt x="99968" y="20908"/>
                      <a:pt x="99968" y="20908"/>
                    </a:cubicBezTo>
                    <a:cubicBezTo>
                      <a:pt x="107241" y="12066"/>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4"/>
                      <a:pt x="223419" y="34504"/>
                    </a:cubicBezTo>
                    <a:cubicBezTo>
                      <a:pt x="233734" y="21859"/>
                      <a:pt x="233734" y="21859"/>
                      <a:pt x="233734" y="21859"/>
                    </a:cubicBezTo>
                    <a:cubicBezTo>
                      <a:pt x="241008" y="13017"/>
                      <a:pt x="251941" y="7598"/>
                      <a:pt x="263159" y="7313"/>
                    </a:cubicBezTo>
                    <a:cubicBezTo>
                      <a:pt x="274663" y="7313"/>
                      <a:pt x="285596" y="12066"/>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90"/>
                      <a:pt x="657137" y="10165"/>
                      <a:pt x="649104" y="19530"/>
                    </a:cubicBezTo>
                    <a:close/>
                  </a:path>
                </a:pathLst>
              </a:custGeom>
              <a:grpFill/>
              <a:ln w="4748" cap="flat">
                <a:solidFill>
                  <a:srgbClr val="00BCE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7" name="Freeform: Shape 340">
                <a:extLst>
                  <a:ext uri="{FF2B5EF4-FFF2-40B4-BE49-F238E27FC236}">
                    <a16:creationId xmlns:a16="http://schemas.microsoft.com/office/drawing/2014/main" id="{16E91E7A-1C83-EC4E-9F49-CC7390AEDA42}"/>
                  </a:ext>
                </a:extLst>
              </p:cNvPr>
              <p:cNvSpPr/>
              <p:nvPr/>
            </p:nvSpPr>
            <p:spPr>
              <a:xfrm>
                <a:off x="4743027" y="3645047"/>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2"/>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2"/>
                      <a:pt x="0" y="11544"/>
                    </a:cubicBezTo>
                    <a:lnTo>
                      <a:pt x="0" y="2417"/>
                    </a:lnTo>
                    <a:cubicBezTo>
                      <a:pt x="8271" y="4413"/>
                      <a:pt x="15734" y="9072"/>
                      <a:pt x="21439" y="15822"/>
                    </a:cubicBezTo>
                    <a:cubicBezTo>
                      <a:pt x="36603" y="34504"/>
                      <a:pt x="36603" y="34504"/>
                      <a:pt x="36603" y="34504"/>
                    </a:cubicBezTo>
                    <a:cubicBezTo>
                      <a:pt x="42972" y="42394"/>
                      <a:pt x="52385" y="46863"/>
                      <a:pt x="62367" y="46863"/>
                    </a:cubicBezTo>
                    <a:cubicBezTo>
                      <a:pt x="72397" y="47196"/>
                      <a:pt x="81762" y="42442"/>
                      <a:pt x="88132" y="34836"/>
                    </a:cubicBezTo>
                    <a:cubicBezTo>
                      <a:pt x="99968" y="20908"/>
                      <a:pt x="99968" y="20908"/>
                      <a:pt x="99968" y="20908"/>
                    </a:cubicBezTo>
                    <a:cubicBezTo>
                      <a:pt x="107241" y="12067"/>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4"/>
                      <a:pt x="223419" y="34504"/>
                    </a:cubicBezTo>
                    <a:cubicBezTo>
                      <a:pt x="233734" y="21859"/>
                      <a:pt x="233734" y="21859"/>
                      <a:pt x="233734" y="21859"/>
                    </a:cubicBezTo>
                    <a:cubicBezTo>
                      <a:pt x="241008" y="13017"/>
                      <a:pt x="251941" y="7598"/>
                      <a:pt x="263159" y="7313"/>
                    </a:cubicBezTo>
                    <a:cubicBezTo>
                      <a:pt x="274663" y="7313"/>
                      <a:pt x="285596" y="12067"/>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42"/>
                      <a:pt x="657137" y="10118"/>
                      <a:pt x="649104" y="19530"/>
                    </a:cubicBezTo>
                    <a:close/>
                  </a:path>
                </a:pathLst>
              </a:custGeom>
              <a:grpFill/>
              <a:ln w="4748" cap="flat">
                <a:solidFill>
                  <a:srgbClr val="00BCE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8" name="Freeform: Shape 341">
                <a:extLst>
                  <a:ext uri="{FF2B5EF4-FFF2-40B4-BE49-F238E27FC236}">
                    <a16:creationId xmlns:a16="http://schemas.microsoft.com/office/drawing/2014/main" id="{8E385DBC-5B72-B546-9A18-7DB2EB0C1995}"/>
                  </a:ext>
                </a:extLst>
              </p:cNvPr>
              <p:cNvSpPr/>
              <p:nvPr/>
            </p:nvSpPr>
            <p:spPr>
              <a:xfrm>
                <a:off x="4743027" y="3754618"/>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3"/>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3"/>
                      <a:pt x="0" y="11544"/>
                    </a:cubicBezTo>
                    <a:lnTo>
                      <a:pt x="0" y="2417"/>
                    </a:lnTo>
                    <a:cubicBezTo>
                      <a:pt x="8271" y="4413"/>
                      <a:pt x="15734" y="9072"/>
                      <a:pt x="21439" y="15822"/>
                    </a:cubicBezTo>
                    <a:cubicBezTo>
                      <a:pt x="36603" y="34504"/>
                      <a:pt x="36603" y="34504"/>
                      <a:pt x="36603" y="34504"/>
                    </a:cubicBezTo>
                    <a:cubicBezTo>
                      <a:pt x="42972" y="42395"/>
                      <a:pt x="52385" y="46863"/>
                      <a:pt x="62367" y="46863"/>
                    </a:cubicBezTo>
                    <a:cubicBezTo>
                      <a:pt x="72397" y="47196"/>
                      <a:pt x="81762" y="42442"/>
                      <a:pt x="88132" y="34836"/>
                    </a:cubicBezTo>
                    <a:cubicBezTo>
                      <a:pt x="99968" y="20908"/>
                      <a:pt x="99968" y="20908"/>
                      <a:pt x="99968" y="20908"/>
                    </a:cubicBezTo>
                    <a:cubicBezTo>
                      <a:pt x="107241" y="12067"/>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5"/>
                      <a:pt x="223419" y="34504"/>
                    </a:cubicBezTo>
                    <a:cubicBezTo>
                      <a:pt x="233734" y="21859"/>
                      <a:pt x="233734" y="21859"/>
                      <a:pt x="233734" y="21859"/>
                    </a:cubicBezTo>
                    <a:cubicBezTo>
                      <a:pt x="241008" y="13017"/>
                      <a:pt x="251941" y="7598"/>
                      <a:pt x="263159" y="7313"/>
                    </a:cubicBezTo>
                    <a:cubicBezTo>
                      <a:pt x="274663" y="7313"/>
                      <a:pt x="285596" y="12067"/>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90"/>
                      <a:pt x="657137" y="10165"/>
                      <a:pt x="649104" y="19530"/>
                    </a:cubicBezTo>
                    <a:close/>
                  </a:path>
                </a:pathLst>
              </a:custGeom>
              <a:grpFill/>
              <a:ln w="4748" cap="flat">
                <a:solidFill>
                  <a:srgbClr val="00BCE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sp>
          <p:nvSpPr>
            <p:cNvPr id="232" name="Freeform: Shape 337">
              <a:extLst>
                <a:ext uri="{FF2B5EF4-FFF2-40B4-BE49-F238E27FC236}">
                  <a16:creationId xmlns:a16="http://schemas.microsoft.com/office/drawing/2014/main" id="{A0E5E15C-AE82-6748-BB93-483E87186DB5}"/>
                </a:ext>
              </a:extLst>
            </p:cNvPr>
            <p:cNvSpPr/>
            <p:nvPr/>
          </p:nvSpPr>
          <p:spPr>
            <a:xfrm>
              <a:off x="3068737" y="1568331"/>
              <a:ext cx="912578" cy="726724"/>
            </a:xfrm>
            <a:custGeom>
              <a:avLst/>
              <a:gdLst>
                <a:gd name="connsiteX0" fmla="*/ 1431275 w 1469221"/>
                <a:gd name="connsiteY0" fmla="*/ 1170003 h 1170002"/>
                <a:gd name="connsiteX1" fmla="*/ 325397 w 1469221"/>
                <a:gd name="connsiteY1" fmla="*/ 1170003 h 1170002"/>
                <a:gd name="connsiteX2" fmla="*/ 279097 w 1469221"/>
                <a:gd name="connsiteY2" fmla="*/ 1134018 h 1170002"/>
                <a:gd name="connsiteX3" fmla="*/ 1202 w 1469221"/>
                <a:gd name="connsiteY3" fmla="*/ 47298 h 1170002"/>
                <a:gd name="connsiteX4" fmla="*/ 37900 w 1469221"/>
                <a:gd name="connsiteY4" fmla="*/ 0 h 1170002"/>
                <a:gd name="connsiteX5" fmla="*/ 1129373 w 1469221"/>
                <a:gd name="connsiteY5" fmla="*/ 0 h 1170002"/>
                <a:gd name="connsiteX6" fmla="*/ 1193690 w 1469221"/>
                <a:gd name="connsiteY6" fmla="*/ 49913 h 1170002"/>
                <a:gd name="connsiteX7" fmla="*/ 1468020 w 1469221"/>
                <a:gd name="connsiteY7" fmla="*/ 1122705 h 1170002"/>
                <a:gd name="connsiteX8" fmla="*/ 1431275 w 1469221"/>
                <a:gd name="connsiteY8" fmla="*/ 1170003 h 117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221" h="1170002">
                  <a:moveTo>
                    <a:pt x="1431275" y="1170003"/>
                  </a:moveTo>
                  <a:lnTo>
                    <a:pt x="325397" y="1170003"/>
                  </a:lnTo>
                  <a:cubicBezTo>
                    <a:pt x="303578" y="1170003"/>
                    <a:pt x="284469" y="1155219"/>
                    <a:pt x="279097" y="1134018"/>
                  </a:cubicBezTo>
                  <a:lnTo>
                    <a:pt x="1202" y="47298"/>
                  </a:lnTo>
                  <a:cubicBezTo>
                    <a:pt x="-4930" y="23340"/>
                    <a:pt x="13181" y="0"/>
                    <a:pt x="37900" y="0"/>
                  </a:cubicBezTo>
                  <a:lnTo>
                    <a:pt x="1129373" y="0"/>
                  </a:lnTo>
                  <a:cubicBezTo>
                    <a:pt x="1159701" y="0"/>
                    <a:pt x="1186179" y="20536"/>
                    <a:pt x="1193690" y="49913"/>
                  </a:cubicBezTo>
                  <a:lnTo>
                    <a:pt x="1468020" y="1122705"/>
                  </a:lnTo>
                  <a:cubicBezTo>
                    <a:pt x="1474152" y="1146710"/>
                    <a:pt x="1456041" y="1170003"/>
                    <a:pt x="1431275" y="1170003"/>
                  </a:cubicBezTo>
                  <a:close/>
                </a:path>
              </a:pathLst>
            </a:custGeom>
            <a:solidFill>
              <a:srgbClr val="FFFFFF"/>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pic>
          <p:nvPicPr>
            <p:cNvPr id="233" name="Picture 232" descr="A picture containing black, dark, white, sitting&#10;&#10;Description automatically generated">
              <a:extLst>
                <a:ext uri="{FF2B5EF4-FFF2-40B4-BE49-F238E27FC236}">
                  <a16:creationId xmlns:a16="http://schemas.microsoft.com/office/drawing/2014/main" id="{C8AAA0EB-0C85-E749-94F0-2E90AE8D332E}"/>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743233" y="1495071"/>
              <a:ext cx="2081390" cy="796301"/>
            </a:xfrm>
            <a:custGeom>
              <a:avLst/>
              <a:gdLst>
                <a:gd name="connsiteX0" fmla="*/ 0 w 9332686"/>
                <a:gd name="connsiteY0" fmla="*/ 0 h 3570515"/>
                <a:gd name="connsiteX1" fmla="*/ 9332686 w 9332686"/>
                <a:gd name="connsiteY1" fmla="*/ 0 h 3570515"/>
                <a:gd name="connsiteX2" fmla="*/ 9332686 w 9332686"/>
                <a:gd name="connsiteY2" fmla="*/ 3570515 h 3570515"/>
                <a:gd name="connsiteX3" fmla="*/ 0 w 9332686"/>
                <a:gd name="connsiteY3" fmla="*/ 3570515 h 3570515"/>
              </a:gdLst>
              <a:ahLst/>
              <a:cxnLst>
                <a:cxn ang="0">
                  <a:pos x="connsiteX0" y="connsiteY0"/>
                </a:cxn>
                <a:cxn ang="0">
                  <a:pos x="connsiteX1" y="connsiteY1"/>
                </a:cxn>
                <a:cxn ang="0">
                  <a:pos x="connsiteX2" y="connsiteY2"/>
                </a:cxn>
                <a:cxn ang="0">
                  <a:pos x="connsiteX3" y="connsiteY3"/>
                </a:cxn>
              </a:cxnLst>
              <a:rect l="l" t="t" r="r" b="b"/>
              <a:pathLst>
                <a:path w="9332686" h="3570515">
                  <a:moveTo>
                    <a:pt x="0" y="0"/>
                  </a:moveTo>
                  <a:lnTo>
                    <a:pt x="9332686" y="0"/>
                  </a:lnTo>
                  <a:lnTo>
                    <a:pt x="9332686" y="3570515"/>
                  </a:lnTo>
                  <a:lnTo>
                    <a:pt x="0" y="3570515"/>
                  </a:lnTo>
                  <a:close/>
                </a:path>
              </a:pathLst>
            </a:custGeom>
          </p:spPr>
        </p:pic>
        <p:grpSp>
          <p:nvGrpSpPr>
            <p:cNvPr id="234" name="Group 233">
              <a:extLst>
                <a:ext uri="{FF2B5EF4-FFF2-40B4-BE49-F238E27FC236}">
                  <a16:creationId xmlns:a16="http://schemas.microsoft.com/office/drawing/2014/main" id="{9E8DE8C9-CEFD-1A4C-AE13-C62BAB06BA25}"/>
                </a:ext>
              </a:extLst>
            </p:cNvPr>
            <p:cNvGrpSpPr/>
            <p:nvPr/>
          </p:nvGrpSpPr>
          <p:grpSpPr>
            <a:xfrm>
              <a:off x="3190745" y="548384"/>
              <a:ext cx="1135070" cy="1942045"/>
              <a:chOff x="5718418" y="546646"/>
              <a:chExt cx="1827425" cy="3126630"/>
            </a:xfrm>
            <a:solidFill>
              <a:srgbClr val="6EBE4A"/>
            </a:solidFill>
          </p:grpSpPr>
          <p:sp>
            <p:nvSpPr>
              <p:cNvPr id="242" name="Freeform: Shape 323">
                <a:extLst>
                  <a:ext uri="{FF2B5EF4-FFF2-40B4-BE49-F238E27FC236}">
                    <a16:creationId xmlns:a16="http://schemas.microsoft.com/office/drawing/2014/main" id="{7963A86F-E213-7941-AE19-E1A6FCA83C4D}"/>
                  </a:ext>
                </a:extLst>
              </p:cNvPr>
              <p:cNvSpPr/>
              <p:nvPr/>
            </p:nvSpPr>
            <p:spPr>
              <a:xfrm>
                <a:off x="6785220" y="2257560"/>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2" y="45349"/>
                      <a:pt x="0" y="35198"/>
                      <a:pt x="0" y="22675"/>
                    </a:cubicBezTo>
                    <a:cubicBezTo>
                      <a:pt x="0" y="10152"/>
                      <a:pt x="10152"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3" name="Freeform: Shape 324">
                <a:extLst>
                  <a:ext uri="{FF2B5EF4-FFF2-40B4-BE49-F238E27FC236}">
                    <a16:creationId xmlns:a16="http://schemas.microsoft.com/office/drawing/2014/main" id="{9FB8C7C5-41BA-0640-8935-B81252ACEF5F}"/>
                  </a:ext>
                </a:extLst>
              </p:cNvPr>
              <p:cNvSpPr/>
              <p:nvPr/>
            </p:nvSpPr>
            <p:spPr>
              <a:xfrm>
                <a:off x="7140409" y="2257560"/>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4" name="Freeform: Shape 325">
                <a:extLst>
                  <a:ext uri="{FF2B5EF4-FFF2-40B4-BE49-F238E27FC236}">
                    <a16:creationId xmlns:a16="http://schemas.microsoft.com/office/drawing/2014/main" id="{A8998B23-A048-2741-9C7F-76290BAA3875}"/>
                  </a:ext>
                </a:extLst>
              </p:cNvPr>
              <p:cNvSpPr/>
              <p:nvPr/>
            </p:nvSpPr>
            <p:spPr>
              <a:xfrm>
                <a:off x="6073369" y="3288092"/>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5" name="Freeform: Shape 326">
                <a:extLst>
                  <a:ext uri="{FF2B5EF4-FFF2-40B4-BE49-F238E27FC236}">
                    <a16:creationId xmlns:a16="http://schemas.microsoft.com/office/drawing/2014/main" id="{D506A67B-B432-3145-AC43-FCCEE755F632}"/>
                  </a:ext>
                </a:extLst>
              </p:cNvPr>
              <p:cNvSpPr/>
              <p:nvPr/>
            </p:nvSpPr>
            <p:spPr>
              <a:xfrm>
                <a:off x="6786979" y="3288092"/>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7" y="45349"/>
                      <a:pt x="22674" y="45349"/>
                    </a:cubicBezTo>
                    <a:cubicBezTo>
                      <a:pt x="10151" y="45349"/>
                      <a:pt x="0" y="35197"/>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6" name="Freeform: Shape 327">
                <a:extLst>
                  <a:ext uri="{FF2B5EF4-FFF2-40B4-BE49-F238E27FC236}">
                    <a16:creationId xmlns:a16="http://schemas.microsoft.com/office/drawing/2014/main" id="{B88A0E83-7F11-C441-9683-BCCD88DCEC41}"/>
                  </a:ext>
                </a:extLst>
              </p:cNvPr>
              <p:cNvSpPr/>
              <p:nvPr/>
            </p:nvSpPr>
            <p:spPr>
              <a:xfrm>
                <a:off x="6073369" y="362792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7" name="Freeform: Shape 328">
                <a:extLst>
                  <a:ext uri="{FF2B5EF4-FFF2-40B4-BE49-F238E27FC236}">
                    <a16:creationId xmlns:a16="http://schemas.microsoft.com/office/drawing/2014/main" id="{E6943F33-2232-3541-986E-380194814360}"/>
                  </a:ext>
                </a:extLst>
              </p:cNvPr>
              <p:cNvSpPr/>
              <p:nvPr/>
            </p:nvSpPr>
            <p:spPr>
              <a:xfrm>
                <a:off x="6430792" y="362792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8" name="Freeform: Shape 329">
                <a:extLst>
                  <a:ext uri="{FF2B5EF4-FFF2-40B4-BE49-F238E27FC236}">
                    <a16:creationId xmlns:a16="http://schemas.microsoft.com/office/drawing/2014/main" id="{C02C5869-6087-8A47-BCAA-C1D35D4619A9}"/>
                  </a:ext>
                </a:extLst>
              </p:cNvPr>
              <p:cNvSpPr/>
              <p:nvPr/>
            </p:nvSpPr>
            <p:spPr>
              <a:xfrm>
                <a:off x="6786979" y="3627927"/>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7" y="45349"/>
                      <a:pt x="22674" y="45349"/>
                    </a:cubicBezTo>
                    <a:cubicBezTo>
                      <a:pt x="10151" y="45349"/>
                      <a:pt x="0" y="35197"/>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9" name="Freeform: Shape 330">
                <a:extLst>
                  <a:ext uri="{FF2B5EF4-FFF2-40B4-BE49-F238E27FC236}">
                    <a16:creationId xmlns:a16="http://schemas.microsoft.com/office/drawing/2014/main" id="{56F4B9E5-4187-2D42-B577-2B7C27063915}"/>
                  </a:ext>
                </a:extLst>
              </p:cNvPr>
              <p:cNvSpPr/>
              <p:nvPr/>
            </p:nvSpPr>
            <p:spPr>
              <a:xfrm>
                <a:off x="7140409" y="1918106"/>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0" name="Freeform: Shape 331">
                <a:extLst>
                  <a:ext uri="{FF2B5EF4-FFF2-40B4-BE49-F238E27FC236}">
                    <a16:creationId xmlns:a16="http://schemas.microsoft.com/office/drawing/2014/main" id="{A3C455D0-1D99-FB47-AC46-1E3C13F4536D}"/>
                  </a:ext>
                </a:extLst>
              </p:cNvPr>
              <p:cNvSpPr/>
              <p:nvPr/>
            </p:nvSpPr>
            <p:spPr>
              <a:xfrm>
                <a:off x="7140409" y="1574231"/>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1" name="Freeform: Shape 332">
                <a:extLst>
                  <a:ext uri="{FF2B5EF4-FFF2-40B4-BE49-F238E27FC236}">
                    <a16:creationId xmlns:a16="http://schemas.microsoft.com/office/drawing/2014/main" id="{BF400F33-C711-374B-9DCB-2979C9155828}"/>
                  </a:ext>
                </a:extLst>
              </p:cNvPr>
              <p:cNvSpPr/>
              <p:nvPr/>
            </p:nvSpPr>
            <p:spPr>
              <a:xfrm>
                <a:off x="6431647" y="1574231"/>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1" y="45349"/>
                      <a:pt x="0" y="35198"/>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2" name="Freeform: Shape 333">
                <a:extLst>
                  <a:ext uri="{FF2B5EF4-FFF2-40B4-BE49-F238E27FC236}">
                    <a16:creationId xmlns:a16="http://schemas.microsoft.com/office/drawing/2014/main" id="{47A6312F-7F19-E54C-8BF8-DA67DA1314DA}"/>
                  </a:ext>
                </a:extLst>
              </p:cNvPr>
              <p:cNvSpPr/>
              <p:nvPr/>
            </p:nvSpPr>
            <p:spPr>
              <a:xfrm>
                <a:off x="5718418" y="888477"/>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2" y="45349"/>
                      <a:pt x="0" y="35197"/>
                      <a:pt x="0" y="22675"/>
                    </a:cubicBezTo>
                    <a:cubicBezTo>
                      <a:pt x="0" y="10152"/>
                      <a:pt x="10152"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3" name="Freeform: Shape 334">
                <a:extLst>
                  <a:ext uri="{FF2B5EF4-FFF2-40B4-BE49-F238E27FC236}">
                    <a16:creationId xmlns:a16="http://schemas.microsoft.com/office/drawing/2014/main" id="{F325A37F-A2A6-C949-BA48-BE9E7F14C3DB}"/>
                  </a:ext>
                </a:extLst>
              </p:cNvPr>
              <p:cNvSpPr/>
              <p:nvPr/>
            </p:nvSpPr>
            <p:spPr>
              <a:xfrm>
                <a:off x="6076459" y="88847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5" y="45349"/>
                    </a:cubicBezTo>
                    <a:cubicBezTo>
                      <a:pt x="10152" y="45349"/>
                      <a:pt x="0" y="35197"/>
                      <a:pt x="0" y="22675"/>
                    </a:cubicBezTo>
                    <a:cubicBezTo>
                      <a:pt x="0" y="10152"/>
                      <a:pt x="10152" y="0"/>
                      <a:pt x="22675"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4" name="Freeform: Shape 335">
                <a:extLst>
                  <a:ext uri="{FF2B5EF4-FFF2-40B4-BE49-F238E27FC236}">
                    <a16:creationId xmlns:a16="http://schemas.microsoft.com/office/drawing/2014/main" id="{D54D41D3-BF90-324B-9B85-3BA7CF53735C}"/>
                  </a:ext>
                </a:extLst>
              </p:cNvPr>
              <p:cNvSpPr/>
              <p:nvPr/>
            </p:nvSpPr>
            <p:spPr>
              <a:xfrm>
                <a:off x="6427179" y="546646"/>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8" y="45349"/>
                      <a:pt x="22675" y="45349"/>
                    </a:cubicBezTo>
                    <a:cubicBezTo>
                      <a:pt x="10152" y="45349"/>
                      <a:pt x="0" y="35198"/>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55" name="Freeform: Shape 336">
                <a:extLst>
                  <a:ext uri="{FF2B5EF4-FFF2-40B4-BE49-F238E27FC236}">
                    <a16:creationId xmlns:a16="http://schemas.microsoft.com/office/drawing/2014/main" id="{BE2B8294-91BB-0E4F-A9BB-DDEA4AFC1D01}"/>
                  </a:ext>
                </a:extLst>
              </p:cNvPr>
              <p:cNvSpPr/>
              <p:nvPr/>
            </p:nvSpPr>
            <p:spPr>
              <a:xfrm>
                <a:off x="7500494" y="2257560"/>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sp>
          <p:nvSpPr>
            <p:cNvPr id="235" name="Freeform: Shape 316">
              <a:extLst>
                <a:ext uri="{FF2B5EF4-FFF2-40B4-BE49-F238E27FC236}">
                  <a16:creationId xmlns:a16="http://schemas.microsoft.com/office/drawing/2014/main" id="{6822292D-1FEE-224A-8D0C-24186B054FCC}"/>
                </a:ext>
              </a:extLst>
            </p:cNvPr>
            <p:cNvSpPr/>
            <p:nvPr/>
          </p:nvSpPr>
          <p:spPr>
            <a:xfrm>
              <a:off x="2214968" y="1388282"/>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pic>
          <p:nvPicPr>
            <p:cNvPr id="236" name="Picture 235" descr="A picture containing black, dark, white, sitting&#10;&#10;Description automatically generated">
              <a:extLst>
                <a:ext uri="{FF2B5EF4-FFF2-40B4-BE49-F238E27FC236}">
                  <a16:creationId xmlns:a16="http://schemas.microsoft.com/office/drawing/2014/main" id="{FB672853-F988-BE46-A535-C697FA105A41}"/>
                </a:ext>
              </a:extLst>
            </p:cNvPr>
            <p:cNvPicPr>
              <a:picLocks noChangeAspect="1"/>
            </p:cNvPicPr>
            <p:nvPr/>
          </p:nvPicPr>
          <p:blipFill>
            <a:blip r:embed="rId4" cstate="screen">
              <a:duotone>
                <a:prstClr val="black"/>
                <a:srgbClr val="B4E2F6">
                  <a:tint val="45000"/>
                  <a:satMod val="400000"/>
                </a:srgbClr>
              </a:duotone>
              <a:extLst>
                <a:ext uri="{BEBA8EAE-BF5A-486C-A8C5-ECC9F3942E4B}">
                  <a14:imgProps xmlns:a14="http://schemas.microsoft.com/office/drawing/2010/main">
                    <a14:imgLayer r:embed="rId5">
                      <a14:imgEffect>
                        <a14:brightnessContrast bright="-24000"/>
                      </a14:imgEffect>
                    </a14:imgLayer>
                  </a14:imgProps>
                </a:ext>
                <a:ext uri="{28A0092B-C50C-407E-A947-70E740481C1C}">
                  <a14:useLocalDpi xmlns:a14="http://schemas.microsoft.com/office/drawing/2010/main"/>
                </a:ext>
              </a:extLst>
            </a:blip>
            <a:srcRect/>
            <a:stretch>
              <a:fillRect/>
            </a:stretch>
          </p:blipFill>
          <p:spPr>
            <a:xfrm>
              <a:off x="3068736" y="1568332"/>
              <a:ext cx="755886" cy="723040"/>
            </a:xfrm>
            <a:custGeom>
              <a:avLst/>
              <a:gdLst>
                <a:gd name="connsiteX0" fmla="*/ 37900 w 1216952"/>
                <a:gd name="connsiteY0" fmla="*/ 0 h 1164072"/>
                <a:gd name="connsiteX1" fmla="*/ 1129373 w 1216952"/>
                <a:gd name="connsiteY1" fmla="*/ 0 h 1164072"/>
                <a:gd name="connsiteX2" fmla="*/ 1193690 w 1216952"/>
                <a:gd name="connsiteY2" fmla="*/ 49913 h 1164072"/>
                <a:gd name="connsiteX3" fmla="*/ 1216952 w 1216952"/>
                <a:gd name="connsiteY3" fmla="*/ 140881 h 1164072"/>
                <a:gd name="connsiteX4" fmla="*/ 1216952 w 1216952"/>
                <a:gd name="connsiteY4" fmla="*/ 1164072 h 1164072"/>
                <a:gd name="connsiteX5" fmla="*/ 308082 w 1216952"/>
                <a:gd name="connsiteY5" fmla="*/ 1164072 h 1164072"/>
                <a:gd name="connsiteX6" fmla="*/ 296080 w 1216952"/>
                <a:gd name="connsiteY6" fmla="*/ 1159961 h 1164072"/>
                <a:gd name="connsiteX7" fmla="*/ 279097 w 1216952"/>
                <a:gd name="connsiteY7" fmla="*/ 1134018 h 1164072"/>
                <a:gd name="connsiteX8" fmla="*/ 1202 w 1216952"/>
                <a:gd name="connsiteY8" fmla="*/ 47298 h 1164072"/>
                <a:gd name="connsiteX9" fmla="*/ 37900 w 1216952"/>
                <a:gd name="connsiteY9" fmla="*/ 0 h 116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952" h="1164072">
                  <a:moveTo>
                    <a:pt x="37900" y="0"/>
                  </a:moveTo>
                  <a:lnTo>
                    <a:pt x="1129373" y="0"/>
                  </a:lnTo>
                  <a:cubicBezTo>
                    <a:pt x="1159701" y="0"/>
                    <a:pt x="1186179" y="20536"/>
                    <a:pt x="1193690" y="49913"/>
                  </a:cubicBezTo>
                  <a:lnTo>
                    <a:pt x="1216952" y="140881"/>
                  </a:lnTo>
                  <a:lnTo>
                    <a:pt x="1216952" y="1164072"/>
                  </a:lnTo>
                  <a:lnTo>
                    <a:pt x="308082" y="1164072"/>
                  </a:lnTo>
                  <a:lnTo>
                    <a:pt x="296080" y="1159961"/>
                  </a:lnTo>
                  <a:cubicBezTo>
                    <a:pt x="287904" y="1153615"/>
                    <a:pt x="281783" y="1144619"/>
                    <a:pt x="279097" y="1134018"/>
                  </a:cubicBezTo>
                  <a:lnTo>
                    <a:pt x="1202" y="47298"/>
                  </a:lnTo>
                  <a:cubicBezTo>
                    <a:pt x="-4930" y="23340"/>
                    <a:pt x="13181" y="0"/>
                    <a:pt x="37900" y="0"/>
                  </a:cubicBezTo>
                  <a:close/>
                </a:path>
              </a:pathLst>
            </a:custGeom>
          </p:spPr>
        </p:pic>
        <p:pic>
          <p:nvPicPr>
            <p:cNvPr id="237" name="Picture 236" descr="A picture containing black, dark, white, sitting&#10;&#10;Description automatically generated">
              <a:extLst>
                <a:ext uri="{FF2B5EF4-FFF2-40B4-BE49-F238E27FC236}">
                  <a16:creationId xmlns:a16="http://schemas.microsoft.com/office/drawing/2014/main" id="{46C49989-6BC6-224D-9589-FD45224F11AD}"/>
                </a:ext>
              </a:extLst>
            </p:cNvPr>
            <p:cNvPicPr>
              <a:picLocks noChangeAspect="1"/>
            </p:cNvPicPr>
            <p:nvPr/>
          </p:nvPicPr>
          <p:blipFill>
            <a:blip r:embed="rId6" cstate="screen">
              <a:duotone>
                <a:srgbClr val="6EBE4A">
                  <a:shade val="45000"/>
                  <a:satMod val="135000"/>
                </a:srgbClr>
                <a:prstClr val="white"/>
              </a:duotone>
              <a:extLst>
                <a:ext uri="{BEBA8EAE-BF5A-486C-A8C5-ECC9F3942E4B}">
                  <a14:imgProps xmlns:a14="http://schemas.microsoft.com/office/drawing/2010/main">
                    <a14:imgLayer r:embed="rId7">
                      <a14:imgEffect>
                        <a14:brightnessContrast bright="-26000"/>
                      </a14:imgEffect>
                    </a14:imgLayer>
                  </a14:imgProps>
                </a:ext>
                <a:ext uri="{28A0092B-C50C-407E-A947-70E740481C1C}">
                  <a14:useLocalDpi xmlns:a14="http://schemas.microsoft.com/office/drawing/2010/main"/>
                </a:ext>
              </a:extLst>
            </a:blip>
            <a:srcRect/>
            <a:stretch>
              <a:fillRect/>
            </a:stretch>
          </p:blipFill>
          <p:spPr>
            <a:xfrm>
              <a:off x="1804712" y="1483762"/>
              <a:ext cx="845629" cy="630968"/>
            </a:xfrm>
            <a:custGeom>
              <a:avLst/>
              <a:gdLst>
                <a:gd name="connsiteX0" fmla="*/ 89162 w 1325589"/>
                <a:gd name="connsiteY0" fmla="*/ 0 h 989091"/>
                <a:gd name="connsiteX1" fmla="*/ 1236427 w 1325589"/>
                <a:gd name="connsiteY1" fmla="*/ 0 h 989091"/>
                <a:gd name="connsiteX2" fmla="*/ 1273503 w 1325589"/>
                <a:gd name="connsiteY2" fmla="*/ 68308 h 989091"/>
                <a:gd name="connsiteX3" fmla="*/ 1325589 w 1325589"/>
                <a:gd name="connsiteY3" fmla="*/ 326297 h 989091"/>
                <a:gd name="connsiteX4" fmla="*/ 662794 w 1325589"/>
                <a:gd name="connsiteY4" fmla="*/ 989091 h 989091"/>
                <a:gd name="connsiteX5" fmla="*/ 0 w 1325589"/>
                <a:gd name="connsiteY5" fmla="*/ 326297 h 989091"/>
                <a:gd name="connsiteX6" fmla="*/ 52086 w 1325589"/>
                <a:gd name="connsiteY6" fmla="*/ 68308 h 98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589" h="989091">
                  <a:moveTo>
                    <a:pt x="89162" y="0"/>
                  </a:moveTo>
                  <a:lnTo>
                    <a:pt x="1236427" y="0"/>
                  </a:lnTo>
                  <a:lnTo>
                    <a:pt x="1273503" y="68308"/>
                  </a:lnTo>
                  <a:cubicBezTo>
                    <a:pt x="1307043" y="147603"/>
                    <a:pt x="1325589" y="234784"/>
                    <a:pt x="1325589" y="326297"/>
                  </a:cubicBezTo>
                  <a:cubicBezTo>
                    <a:pt x="1325589" y="692348"/>
                    <a:pt x="1028845" y="989091"/>
                    <a:pt x="662794" y="989091"/>
                  </a:cubicBezTo>
                  <a:cubicBezTo>
                    <a:pt x="296743" y="989091"/>
                    <a:pt x="0" y="692348"/>
                    <a:pt x="0" y="326297"/>
                  </a:cubicBezTo>
                  <a:cubicBezTo>
                    <a:pt x="0" y="234784"/>
                    <a:pt x="18547" y="147603"/>
                    <a:pt x="52086" y="68308"/>
                  </a:cubicBezTo>
                  <a:close/>
                </a:path>
              </a:pathLst>
            </a:custGeom>
          </p:spPr>
        </p:pic>
        <p:grpSp>
          <p:nvGrpSpPr>
            <p:cNvPr id="238" name="Group 237">
              <a:extLst>
                <a:ext uri="{FF2B5EF4-FFF2-40B4-BE49-F238E27FC236}">
                  <a16:creationId xmlns:a16="http://schemas.microsoft.com/office/drawing/2014/main" id="{5907B787-A6C5-5C4D-B7F2-3376968A6786}"/>
                </a:ext>
              </a:extLst>
            </p:cNvPr>
            <p:cNvGrpSpPr/>
            <p:nvPr/>
          </p:nvGrpSpPr>
          <p:grpSpPr>
            <a:xfrm>
              <a:off x="1723425" y="1816822"/>
              <a:ext cx="301897" cy="201456"/>
              <a:chOff x="3356079" y="2588791"/>
              <a:chExt cx="486045" cy="324337"/>
            </a:xfrm>
            <a:solidFill>
              <a:srgbClr val="00BCEB"/>
            </a:solidFill>
          </p:grpSpPr>
          <p:sp>
            <p:nvSpPr>
              <p:cNvPr id="240" name="Freeform: Shape 321">
                <a:extLst>
                  <a:ext uri="{FF2B5EF4-FFF2-40B4-BE49-F238E27FC236}">
                    <a16:creationId xmlns:a16="http://schemas.microsoft.com/office/drawing/2014/main" id="{2CF17DF5-4BA9-1F45-9612-29EE297CCD3F}"/>
                  </a:ext>
                </a:extLst>
              </p:cNvPr>
              <p:cNvSpPr/>
              <p:nvPr/>
            </p:nvSpPr>
            <p:spPr>
              <a:xfrm>
                <a:off x="3356079" y="2611761"/>
                <a:ext cx="463122" cy="301367"/>
              </a:xfrm>
              <a:custGeom>
                <a:avLst/>
                <a:gdLst>
                  <a:gd name="connsiteX0" fmla="*/ 19004 w 463122"/>
                  <a:gd name="connsiteY0" fmla="*/ 301368 h 301367"/>
                  <a:gd name="connsiteX1" fmla="*/ 2842 w 463122"/>
                  <a:gd name="connsiteY1" fmla="*/ 292384 h 301367"/>
                  <a:gd name="connsiteX2" fmla="*/ 8974 w 463122"/>
                  <a:gd name="connsiteY2" fmla="*/ 266191 h 301367"/>
                  <a:gd name="connsiteX3" fmla="*/ 434088 w 463122"/>
                  <a:gd name="connsiteY3" fmla="*/ 2842 h 301367"/>
                  <a:gd name="connsiteX4" fmla="*/ 460281 w 463122"/>
                  <a:gd name="connsiteY4" fmla="*/ 8974 h 301367"/>
                  <a:gd name="connsiteX5" fmla="*/ 454149 w 463122"/>
                  <a:gd name="connsiteY5" fmla="*/ 35166 h 301367"/>
                  <a:gd name="connsiteX6" fmla="*/ 29034 w 463122"/>
                  <a:gd name="connsiteY6" fmla="*/ 298516 h 301367"/>
                  <a:gd name="connsiteX7" fmla="*/ 19004 w 463122"/>
                  <a:gd name="connsiteY7" fmla="*/ 301368 h 30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122" h="301367">
                    <a:moveTo>
                      <a:pt x="19004" y="301368"/>
                    </a:moveTo>
                    <a:cubicBezTo>
                      <a:pt x="12634" y="301368"/>
                      <a:pt x="6407" y="298183"/>
                      <a:pt x="2842" y="292384"/>
                    </a:cubicBezTo>
                    <a:cubicBezTo>
                      <a:pt x="-2672" y="283447"/>
                      <a:pt x="85" y="271753"/>
                      <a:pt x="8974" y="266191"/>
                    </a:cubicBezTo>
                    <a:lnTo>
                      <a:pt x="434088" y="2842"/>
                    </a:lnTo>
                    <a:cubicBezTo>
                      <a:pt x="443025" y="-2672"/>
                      <a:pt x="454719" y="85"/>
                      <a:pt x="460281" y="8974"/>
                    </a:cubicBezTo>
                    <a:cubicBezTo>
                      <a:pt x="465795" y="17911"/>
                      <a:pt x="463038" y="29605"/>
                      <a:pt x="454149" y="35166"/>
                    </a:cubicBezTo>
                    <a:lnTo>
                      <a:pt x="29034" y="298516"/>
                    </a:lnTo>
                    <a:cubicBezTo>
                      <a:pt x="25897" y="300417"/>
                      <a:pt x="22427" y="301368"/>
                      <a:pt x="19004" y="30136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sp>
            <p:nvSpPr>
              <p:cNvPr id="241" name="Freeform: Shape 322">
                <a:extLst>
                  <a:ext uri="{FF2B5EF4-FFF2-40B4-BE49-F238E27FC236}">
                    <a16:creationId xmlns:a16="http://schemas.microsoft.com/office/drawing/2014/main" id="{19E3E79F-69D6-B74A-B61F-5C48B8712D31}"/>
                  </a:ext>
                </a:extLst>
              </p:cNvPr>
              <p:cNvSpPr/>
              <p:nvPr/>
            </p:nvSpPr>
            <p:spPr>
              <a:xfrm>
                <a:off x="3758271" y="2588791"/>
                <a:ext cx="83853" cy="83853"/>
              </a:xfrm>
              <a:custGeom>
                <a:avLst/>
                <a:gdLst>
                  <a:gd name="connsiteX0" fmla="*/ 83854 w 83853"/>
                  <a:gd name="connsiteY0" fmla="*/ 41927 h 83853"/>
                  <a:gd name="connsiteX1" fmla="*/ 41927 w 83853"/>
                  <a:gd name="connsiteY1" fmla="*/ 83854 h 83853"/>
                  <a:gd name="connsiteX2" fmla="*/ 0 w 83853"/>
                  <a:gd name="connsiteY2" fmla="*/ 41927 h 83853"/>
                  <a:gd name="connsiteX3" fmla="*/ 41927 w 83853"/>
                  <a:gd name="connsiteY3" fmla="*/ 0 h 83853"/>
                  <a:gd name="connsiteX4" fmla="*/ 83854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4" y="41927"/>
                    </a:moveTo>
                    <a:cubicBezTo>
                      <a:pt x="83854" y="65082"/>
                      <a:pt x="65082" y="83854"/>
                      <a:pt x="41927" y="83854"/>
                    </a:cubicBezTo>
                    <a:cubicBezTo>
                      <a:pt x="18771" y="83854"/>
                      <a:pt x="0" y="65082"/>
                      <a:pt x="0" y="41927"/>
                    </a:cubicBezTo>
                    <a:cubicBezTo>
                      <a:pt x="0" y="18771"/>
                      <a:pt x="18771" y="0"/>
                      <a:pt x="41927" y="0"/>
                    </a:cubicBezTo>
                    <a:cubicBezTo>
                      <a:pt x="65082" y="0"/>
                      <a:pt x="83854" y="18771"/>
                      <a:pt x="83854" y="41927"/>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sp>
          <p:nvSpPr>
            <p:cNvPr id="239" name="Freeform: Shape 320">
              <a:extLst>
                <a:ext uri="{FF2B5EF4-FFF2-40B4-BE49-F238E27FC236}">
                  <a16:creationId xmlns:a16="http://schemas.microsoft.com/office/drawing/2014/main" id="{F00405AA-2F12-9841-B403-7B3F3B3D83EB}"/>
                </a:ext>
              </a:extLst>
            </p:cNvPr>
            <p:cNvSpPr/>
            <p:nvPr/>
          </p:nvSpPr>
          <p:spPr>
            <a:xfrm>
              <a:off x="2214968" y="1741944"/>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rgbClr val="0D274D"/>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cs typeface="CiscoSansTT ExtraLight"/>
                <a:sym typeface="CiscoSansTT ExtraLight"/>
              </a:endParaRPr>
            </a:p>
          </p:txBody>
        </p:sp>
      </p:grpSp>
      <p:sp>
        <p:nvSpPr>
          <p:cNvPr id="93" name="Rectangle 92">
            <a:hlinkClick r:id="rId8"/>
            <a:extLst>
              <a:ext uri="{FF2B5EF4-FFF2-40B4-BE49-F238E27FC236}">
                <a16:creationId xmlns:a16="http://schemas.microsoft.com/office/drawing/2014/main" id="{44FDB043-4299-454B-BB98-D6C1EEFC27EB}"/>
              </a:ext>
            </a:extLst>
          </p:cNvPr>
          <p:cNvSpPr/>
          <p:nvPr/>
        </p:nvSpPr>
        <p:spPr>
          <a:xfrm>
            <a:off x="5855065" y="4688137"/>
            <a:ext cx="2654894" cy="307777"/>
          </a:xfrm>
          <a:prstGeom prst="rect">
            <a:avLst/>
          </a:prstGeom>
        </p:spPr>
        <p:txBody>
          <a:bodyPr wrap="none">
            <a:spAutoFit/>
          </a:bodyPr>
          <a:lstStyle/>
          <a:p>
            <a:r>
              <a:rPr lang="en-US" sz="1400" dirty="0">
                <a:solidFill>
                  <a:schemeClr val="accent2"/>
                </a:solidFill>
                <a:latin typeface="+mj-lt"/>
                <a:hlinkClick r:id="rId9"/>
              </a:rPr>
              <a:t>cisco.com/go/</a:t>
            </a:r>
            <a:r>
              <a:rPr lang="en-US" sz="1400" dirty="0" err="1">
                <a:solidFill>
                  <a:schemeClr val="accent2"/>
                </a:solidFill>
                <a:latin typeface="+mj-lt"/>
                <a:hlinkClick r:id="rId9"/>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359251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76D27D5D-23A8-6E48-9125-4EE423FBBE9C}"/>
              </a:ext>
            </a:extLst>
          </p:cNvPr>
          <p:cNvSpPr>
            <a:spLocks noGrp="1"/>
          </p:cNvSpPr>
          <p:nvPr>
            <p:ph type="body" sz="quarter" idx="11"/>
          </p:nvPr>
        </p:nvSpPr>
        <p:spPr>
          <a:xfrm>
            <a:off x="437766" y="1466850"/>
            <a:ext cx="3687757" cy="3061555"/>
          </a:xfrm>
        </p:spPr>
        <p:txBody>
          <a:bodyPr/>
          <a:lstStyle/>
          <a:p>
            <a:pPr marL="0" lvl="0" indent="0" defTabSz="457200">
              <a:lnSpc>
                <a:spcPct val="100000"/>
              </a:lnSpc>
              <a:spcBef>
                <a:spcPct val="0"/>
              </a:spcBef>
              <a:spcAft>
                <a:spcPts val="1200"/>
              </a:spcAft>
              <a:buClrTx/>
              <a:buSzTx/>
              <a:buNone/>
            </a:pPr>
            <a:r>
              <a:rPr lang="en-US" dirty="0">
                <a:solidFill>
                  <a:srgbClr val="0D274D"/>
                </a:solidFill>
                <a:cs typeface="CiscoSansTT Thin" charset="0"/>
                <a:sym typeface="CiscoSansTT ExtraLight"/>
              </a:rPr>
              <a:t>Build operational efficiencies with </a:t>
            </a:r>
            <a:r>
              <a:rPr lang="en-IN" dirty="0">
                <a:solidFill>
                  <a:srgbClr val="6EBE4A"/>
                </a:solidFill>
                <a:latin typeface="CiscoSansTT" panose="020B0503020201020303" pitchFamily="34" charset="0"/>
                <a:cs typeface="CiscoSansTT" panose="020B0503020201020303" pitchFamily="34" charset="0"/>
              </a:rPr>
              <a:t>complete and actionable insights</a:t>
            </a:r>
            <a:endParaRPr lang="en-IN" b="1" dirty="0">
              <a:solidFill>
                <a:srgbClr val="0D274D"/>
              </a:solidFill>
              <a:latin typeface="Arial" charset="0"/>
            </a:endParaRPr>
          </a:p>
          <a:p>
            <a:pPr marL="0" lvl="0" indent="0">
              <a:lnSpc>
                <a:spcPct val="100000"/>
              </a:lnSpc>
              <a:spcBef>
                <a:spcPct val="0"/>
              </a:spcBef>
              <a:spcAft>
                <a:spcPts val="1200"/>
              </a:spcAft>
              <a:buClrTx/>
              <a:buSzTx/>
              <a:buNone/>
              <a:defRPr/>
            </a:pPr>
            <a:r>
              <a:rPr lang="en-US" dirty="0">
                <a:solidFill>
                  <a:srgbClr val="0D274D"/>
                </a:solidFill>
                <a:cs typeface="CiscoSansTT Thin" charset="0"/>
                <a:sym typeface="CiscoSansTT ExtraLight"/>
              </a:rPr>
              <a:t>Empower resources with the </a:t>
            </a:r>
            <a:r>
              <a:rPr lang="en-US" dirty="0">
                <a:solidFill>
                  <a:srgbClr val="6EBE4A"/>
                </a:solidFill>
                <a:latin typeface="CiscoSansTT" panose="020B0503020201020303" pitchFamily="34" charset="0"/>
                <a:cs typeface="CiscoSansTT" panose="020B0503020201020303" pitchFamily="34" charset="0"/>
                <a:sym typeface="CiscoSansTT ExtraLight"/>
              </a:rPr>
              <a:t>strength of automation</a:t>
            </a:r>
          </a:p>
          <a:p>
            <a:pPr marL="0" lvl="0" indent="0">
              <a:lnSpc>
                <a:spcPct val="100000"/>
              </a:lnSpc>
              <a:spcBef>
                <a:spcPct val="0"/>
              </a:spcBef>
              <a:spcAft>
                <a:spcPts val="1200"/>
              </a:spcAft>
              <a:buClrTx/>
              <a:buSzTx/>
              <a:buNone/>
              <a:defRPr/>
            </a:pPr>
            <a:r>
              <a:rPr lang="en-US" dirty="0">
                <a:solidFill>
                  <a:srgbClr val="0D274D"/>
                </a:solidFill>
                <a:cs typeface="CiscoSansTT Thin" charset="0"/>
                <a:sym typeface="CiscoSansTT ExtraLight"/>
              </a:rPr>
              <a:t>Drive innovation and growth with an </a:t>
            </a:r>
            <a:r>
              <a:rPr lang="en-US" dirty="0">
                <a:solidFill>
                  <a:srgbClr val="6EBE4A"/>
                </a:solidFill>
                <a:latin typeface="CiscoSansTT" panose="020B0503020201020303" pitchFamily="34" charset="0"/>
                <a:cs typeface="CiscoSansTT" panose="020B0503020201020303" pitchFamily="34" charset="0"/>
              </a:rPr>
              <a:t>open ecosystem</a:t>
            </a:r>
          </a:p>
          <a:p>
            <a:pPr marL="0" lvl="0" indent="0">
              <a:lnSpc>
                <a:spcPct val="100000"/>
              </a:lnSpc>
              <a:spcBef>
                <a:spcPct val="0"/>
              </a:spcBef>
              <a:spcAft>
                <a:spcPts val="1200"/>
              </a:spcAft>
              <a:buClrTx/>
              <a:buSzTx/>
              <a:buNone/>
              <a:defRPr/>
            </a:pPr>
            <a:r>
              <a:rPr lang="en-US" dirty="0">
                <a:solidFill>
                  <a:srgbClr val="0D274D"/>
                </a:solidFill>
                <a:cs typeface="CiscoSansTT Thin" charset="0"/>
                <a:sym typeface="CiscoSansTT ExtraLight"/>
              </a:rPr>
              <a:t>Rationalize ROI by improving </a:t>
            </a:r>
            <a:r>
              <a:rPr lang="en-US" dirty="0">
                <a:solidFill>
                  <a:srgbClr val="6EBE4A"/>
                </a:solidFill>
                <a:latin typeface="CiscoSansTT" panose="020B0503020201020303" pitchFamily="34" charset="0"/>
                <a:cs typeface="CiscoSansTT" panose="020B0503020201020303" pitchFamily="34" charset="0"/>
              </a:rPr>
              <a:t>security efficacy</a:t>
            </a:r>
            <a:endParaRPr lang="en-US" dirty="0">
              <a:solidFill>
                <a:srgbClr val="6EBE4A"/>
              </a:solidFill>
              <a:latin typeface="CiscoSansTT" panose="020B0503020201020303" pitchFamily="34" charset="0"/>
              <a:cs typeface="CiscoSansTT" panose="020B0503020201020303" pitchFamily="34" charset="0"/>
              <a:sym typeface="CiscoSansTT ExtraLight"/>
            </a:endParaRPr>
          </a:p>
        </p:txBody>
      </p:sp>
      <p:sp>
        <p:nvSpPr>
          <p:cNvPr id="10" name="Title 9">
            <a:extLst>
              <a:ext uri="{FF2B5EF4-FFF2-40B4-BE49-F238E27FC236}">
                <a16:creationId xmlns:a16="http://schemas.microsoft.com/office/drawing/2014/main" id="{2AB891BF-FF32-564D-87E8-662A622F64D1}"/>
              </a:ext>
            </a:extLst>
          </p:cNvPr>
          <p:cNvSpPr>
            <a:spLocks noGrp="1"/>
          </p:cNvSpPr>
          <p:nvPr>
            <p:ph type="title"/>
          </p:nvPr>
        </p:nvSpPr>
        <p:spPr>
          <a:xfrm>
            <a:off x="437766" y="526038"/>
            <a:ext cx="6167420" cy="731837"/>
          </a:xfrm>
        </p:spPr>
        <p:txBody>
          <a:bodyPr/>
          <a:lstStyle/>
          <a:p>
            <a:r>
              <a:rPr lang="en-US" dirty="0"/>
              <a:t>Create quantifiable improvements and better outcomes</a:t>
            </a:r>
          </a:p>
        </p:txBody>
      </p:sp>
      <p:graphicFrame>
        <p:nvGraphicFramePr>
          <p:cNvPr id="7" name="Object 6" hidden="1">
            <a:extLst>
              <a:ext uri="{FF2B5EF4-FFF2-40B4-BE49-F238E27FC236}">
                <a16:creationId xmlns:a16="http://schemas.microsoft.com/office/drawing/2014/main" id="{F0615C1E-7C66-4AF8-A42D-339F1BDE2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F0615C1E-7C66-4AF8-A42D-339F1BDE2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D7471E-086F-49A5-8520-0E6D6623E145}"/>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ExtraLight" panose="020B0303020201020303" pitchFamily="34" charset="0"/>
            </a:endParaRPr>
          </a:p>
        </p:txBody>
      </p:sp>
      <p:grpSp>
        <p:nvGrpSpPr>
          <p:cNvPr id="3" name="Group 2">
            <a:extLst>
              <a:ext uri="{FF2B5EF4-FFF2-40B4-BE49-F238E27FC236}">
                <a16:creationId xmlns:a16="http://schemas.microsoft.com/office/drawing/2014/main" id="{642B0ABB-114F-0043-B03E-A8827CFE4E14}"/>
              </a:ext>
            </a:extLst>
          </p:cNvPr>
          <p:cNvGrpSpPr/>
          <p:nvPr/>
        </p:nvGrpSpPr>
        <p:grpSpPr>
          <a:xfrm>
            <a:off x="4578096" y="1180083"/>
            <a:ext cx="4565906" cy="3207768"/>
            <a:chOff x="4578096" y="1180083"/>
            <a:chExt cx="4565906" cy="3207768"/>
          </a:xfrm>
        </p:grpSpPr>
        <p:grpSp>
          <p:nvGrpSpPr>
            <p:cNvPr id="276" name="Group 275">
              <a:extLst>
                <a:ext uri="{FF2B5EF4-FFF2-40B4-BE49-F238E27FC236}">
                  <a16:creationId xmlns:a16="http://schemas.microsoft.com/office/drawing/2014/main" id="{D3685030-DD3C-481B-B488-88FCFF483BD7}"/>
                </a:ext>
              </a:extLst>
            </p:cNvPr>
            <p:cNvGrpSpPr/>
            <p:nvPr/>
          </p:nvGrpSpPr>
          <p:grpSpPr>
            <a:xfrm>
              <a:off x="8345246" y="2216191"/>
              <a:ext cx="798756" cy="170930"/>
              <a:chOff x="2736154" y="1943610"/>
              <a:chExt cx="1022270" cy="218761"/>
            </a:xfrm>
          </p:grpSpPr>
          <p:sp>
            <p:nvSpPr>
              <p:cNvPr id="362" name="Freeform: Shape 361">
                <a:extLst>
                  <a:ext uri="{FF2B5EF4-FFF2-40B4-BE49-F238E27FC236}">
                    <a16:creationId xmlns:a16="http://schemas.microsoft.com/office/drawing/2014/main" id="{438FF384-2DF9-4942-B283-8B0B112FCF37}"/>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63" name="Freeform: Shape 362">
                <a:extLst>
                  <a:ext uri="{FF2B5EF4-FFF2-40B4-BE49-F238E27FC236}">
                    <a16:creationId xmlns:a16="http://schemas.microsoft.com/office/drawing/2014/main" id="{24751B8C-5050-4B8F-9169-E38E5F1B5642}"/>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64" name="Freeform: Shape 363">
                <a:extLst>
                  <a:ext uri="{FF2B5EF4-FFF2-40B4-BE49-F238E27FC236}">
                    <a16:creationId xmlns:a16="http://schemas.microsoft.com/office/drawing/2014/main" id="{5CC2D046-BA05-4146-9E0B-875671E2281D}"/>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2"/>
                </a:solidFill>
                <a:prstDash val="solid"/>
                <a:miter/>
              </a:ln>
            </p:spPr>
            <p:txBody>
              <a:bodyPr rtlCol="0" anchor="ct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65" name="Freeform: Shape 364">
                <a:extLst>
                  <a:ext uri="{FF2B5EF4-FFF2-40B4-BE49-F238E27FC236}">
                    <a16:creationId xmlns:a16="http://schemas.microsoft.com/office/drawing/2014/main" id="{D967D8C9-FBD1-428F-AEDB-71043B2FE55D}"/>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grpSp>
        <p:sp>
          <p:nvSpPr>
            <p:cNvPr id="277" name="Oval 276">
              <a:extLst>
                <a:ext uri="{FF2B5EF4-FFF2-40B4-BE49-F238E27FC236}">
                  <a16:creationId xmlns:a16="http://schemas.microsoft.com/office/drawing/2014/main" id="{F4DC5A36-97F0-406F-A9BC-E571DA1B0E06}"/>
                </a:ext>
              </a:extLst>
            </p:cNvPr>
            <p:cNvSpPr/>
            <p:nvPr/>
          </p:nvSpPr>
          <p:spPr>
            <a:xfrm>
              <a:off x="5660488" y="1794916"/>
              <a:ext cx="2576067" cy="2576065"/>
            </a:xfrm>
            <a:prstGeom prst="ellipse">
              <a:avLst/>
            </a:prstGeom>
            <a:pattFill prst="wdUpDiag">
              <a:fgClr>
                <a:schemeClr val="accent2">
                  <a:lumMod val="40000"/>
                  <a:lumOff val="60000"/>
                </a:schemeClr>
              </a:fgClr>
              <a:bgClr>
                <a:srgbClr val="FFFFFF"/>
              </a:bgClr>
            </a:patt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CiscoSansTT ExtraLight"/>
                <a:sym typeface="CiscoSansTT ExtraLight"/>
              </a:endParaRPr>
            </a:p>
          </p:txBody>
        </p:sp>
        <p:grpSp>
          <p:nvGrpSpPr>
            <p:cNvPr id="295" name="Group 294">
              <a:extLst>
                <a:ext uri="{FF2B5EF4-FFF2-40B4-BE49-F238E27FC236}">
                  <a16:creationId xmlns:a16="http://schemas.microsoft.com/office/drawing/2014/main" id="{4C9D84E5-A55C-49DD-8297-6ACC0397CDB7}"/>
                </a:ext>
              </a:extLst>
            </p:cNvPr>
            <p:cNvGrpSpPr/>
            <p:nvPr/>
          </p:nvGrpSpPr>
          <p:grpSpPr>
            <a:xfrm rot="7264927">
              <a:off x="8262735" y="2119950"/>
              <a:ext cx="651996" cy="566169"/>
              <a:chOff x="2560638" y="2862263"/>
              <a:chExt cx="1314450" cy="1141412"/>
            </a:xfrm>
          </p:grpSpPr>
          <p:sp>
            <p:nvSpPr>
              <p:cNvPr id="343" name="Oval 189">
                <a:extLst>
                  <a:ext uri="{FF2B5EF4-FFF2-40B4-BE49-F238E27FC236}">
                    <a16:creationId xmlns:a16="http://schemas.microsoft.com/office/drawing/2014/main" id="{87894CD5-5F57-4666-BAA3-F86171864280}"/>
                  </a:ext>
                </a:extLst>
              </p:cNvPr>
              <p:cNvSpPr>
                <a:spLocks noChangeArrowheads="1"/>
              </p:cNvSpPr>
              <p:nvPr/>
            </p:nvSpPr>
            <p:spPr bwMode="auto">
              <a:xfrm>
                <a:off x="2560638" y="3646488"/>
                <a:ext cx="73025"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4" name="Oval 190">
                <a:extLst>
                  <a:ext uri="{FF2B5EF4-FFF2-40B4-BE49-F238E27FC236}">
                    <a16:creationId xmlns:a16="http://schemas.microsoft.com/office/drawing/2014/main" id="{95A12E72-6EB9-41A2-B9E5-07B55AA870AD}"/>
                  </a:ext>
                </a:extLst>
              </p:cNvPr>
              <p:cNvSpPr>
                <a:spLocks noChangeArrowheads="1"/>
              </p:cNvSpPr>
              <p:nvPr/>
            </p:nvSpPr>
            <p:spPr bwMode="auto">
              <a:xfrm>
                <a:off x="2781301"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5" name="Oval 191">
                <a:extLst>
                  <a:ext uri="{FF2B5EF4-FFF2-40B4-BE49-F238E27FC236}">
                    <a16:creationId xmlns:a16="http://schemas.microsoft.com/office/drawing/2014/main" id="{CD90EFB3-11B1-413E-825D-C6EBB86B3C22}"/>
                  </a:ext>
                </a:extLst>
              </p:cNvPr>
              <p:cNvSpPr>
                <a:spLocks noChangeArrowheads="1"/>
              </p:cNvSpPr>
              <p:nvPr/>
            </p:nvSpPr>
            <p:spPr bwMode="auto">
              <a:xfrm>
                <a:off x="3265488"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6" name="Oval 192">
                <a:extLst>
                  <a:ext uri="{FF2B5EF4-FFF2-40B4-BE49-F238E27FC236}">
                    <a16:creationId xmlns:a16="http://schemas.microsoft.com/office/drawing/2014/main" id="{5AEDD299-4185-4E44-9612-552DE30F0D7B}"/>
                  </a:ext>
                </a:extLst>
              </p:cNvPr>
              <p:cNvSpPr>
                <a:spLocks noChangeArrowheads="1"/>
              </p:cNvSpPr>
              <p:nvPr/>
            </p:nvSpPr>
            <p:spPr bwMode="auto">
              <a:xfrm>
                <a:off x="3265488" y="3398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7" name="Oval 193">
                <a:extLst>
                  <a:ext uri="{FF2B5EF4-FFF2-40B4-BE49-F238E27FC236}">
                    <a16:creationId xmlns:a16="http://schemas.microsoft.com/office/drawing/2014/main" id="{FD676123-6D0B-45A6-974B-CF436E791DC1}"/>
                  </a:ext>
                </a:extLst>
              </p:cNvPr>
              <p:cNvSpPr>
                <a:spLocks noChangeArrowheads="1"/>
              </p:cNvSpPr>
              <p:nvPr/>
            </p:nvSpPr>
            <p:spPr bwMode="auto">
              <a:xfrm>
                <a:off x="3505201" y="3138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8" name="Oval 194">
                <a:extLst>
                  <a:ext uri="{FF2B5EF4-FFF2-40B4-BE49-F238E27FC236}">
                    <a16:creationId xmlns:a16="http://schemas.microsoft.com/office/drawing/2014/main" id="{D0D8ED1E-9FA7-43DD-B600-99958B291387}"/>
                  </a:ext>
                </a:extLst>
              </p:cNvPr>
              <p:cNvSpPr>
                <a:spLocks noChangeArrowheads="1"/>
              </p:cNvSpPr>
              <p:nvPr/>
            </p:nvSpPr>
            <p:spPr bwMode="auto">
              <a:xfrm>
                <a:off x="3505201" y="2890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9" name="Oval 195">
                <a:extLst>
                  <a:ext uri="{FF2B5EF4-FFF2-40B4-BE49-F238E27FC236}">
                    <a16:creationId xmlns:a16="http://schemas.microsoft.com/office/drawing/2014/main" id="{417D31DF-C7C6-4E85-A318-5C3D7B857716}"/>
                  </a:ext>
                </a:extLst>
              </p:cNvPr>
              <p:cNvSpPr>
                <a:spLocks noChangeArrowheads="1"/>
              </p:cNvSpPr>
              <p:nvPr/>
            </p:nvSpPr>
            <p:spPr bwMode="auto">
              <a:xfrm>
                <a:off x="3771901" y="3144838"/>
                <a:ext cx="73025" cy="7937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0" name="Oval 196">
                <a:extLst>
                  <a:ext uri="{FF2B5EF4-FFF2-40B4-BE49-F238E27FC236}">
                    <a16:creationId xmlns:a16="http://schemas.microsoft.com/office/drawing/2014/main" id="{7E03ECDD-B5CC-4C75-BCAF-766DDE6E766C}"/>
                  </a:ext>
                </a:extLst>
              </p:cNvPr>
              <p:cNvSpPr>
                <a:spLocks noChangeArrowheads="1"/>
              </p:cNvSpPr>
              <p:nvPr/>
            </p:nvSpPr>
            <p:spPr bwMode="auto">
              <a:xfrm>
                <a:off x="2560638" y="3900488"/>
                <a:ext cx="73025"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1" name="Oval 197">
                <a:extLst>
                  <a:ext uri="{FF2B5EF4-FFF2-40B4-BE49-F238E27FC236}">
                    <a16:creationId xmlns:a16="http://schemas.microsoft.com/office/drawing/2014/main" id="{50D0127C-8DEC-4402-8BDC-B4BFE7EF8AF4}"/>
                  </a:ext>
                </a:extLst>
              </p:cNvPr>
              <p:cNvSpPr>
                <a:spLocks noChangeArrowheads="1"/>
              </p:cNvSpPr>
              <p:nvPr/>
            </p:nvSpPr>
            <p:spPr bwMode="auto">
              <a:xfrm>
                <a:off x="3265488"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2" name="Oval 198">
                <a:extLst>
                  <a:ext uri="{FF2B5EF4-FFF2-40B4-BE49-F238E27FC236}">
                    <a16:creationId xmlns:a16="http://schemas.microsoft.com/office/drawing/2014/main" id="{90790FD1-3532-41A3-B155-2D38BF0EC5CE}"/>
                  </a:ext>
                </a:extLst>
              </p:cNvPr>
              <p:cNvSpPr>
                <a:spLocks noChangeArrowheads="1"/>
              </p:cNvSpPr>
              <p:nvPr/>
            </p:nvSpPr>
            <p:spPr bwMode="auto">
              <a:xfrm>
                <a:off x="3505201"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3" name="Freeform 199">
                <a:extLst>
                  <a:ext uri="{FF2B5EF4-FFF2-40B4-BE49-F238E27FC236}">
                    <a16:creationId xmlns:a16="http://schemas.microsoft.com/office/drawing/2014/main" id="{8A4DFA00-E839-4DA5-AE81-F4D14DF22A98}"/>
                  </a:ext>
                </a:extLst>
              </p:cNvPr>
              <p:cNvSpPr>
                <a:spLocks noEditPoints="1"/>
              </p:cNvSpPr>
              <p:nvPr/>
            </p:nvSpPr>
            <p:spPr bwMode="auto">
              <a:xfrm>
                <a:off x="37417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4" name="Freeform 200">
                <a:extLst>
                  <a:ext uri="{FF2B5EF4-FFF2-40B4-BE49-F238E27FC236}">
                    <a16:creationId xmlns:a16="http://schemas.microsoft.com/office/drawing/2014/main" id="{65D68C0E-C780-42FE-85C9-23BEE6D6CC1E}"/>
                  </a:ext>
                </a:extLst>
              </p:cNvPr>
              <p:cNvSpPr>
                <a:spLocks noEditPoints="1"/>
              </p:cNvSpPr>
              <p:nvPr/>
            </p:nvSpPr>
            <p:spPr bwMode="auto">
              <a:xfrm>
                <a:off x="3476626"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5" name="Freeform 201">
                <a:extLst>
                  <a:ext uri="{FF2B5EF4-FFF2-40B4-BE49-F238E27FC236}">
                    <a16:creationId xmlns:a16="http://schemas.microsoft.com/office/drawing/2014/main" id="{6CA52FC8-2F05-4E49-A262-8D77C04852E0}"/>
                  </a:ext>
                </a:extLst>
              </p:cNvPr>
              <p:cNvSpPr>
                <a:spLocks noEditPoints="1"/>
              </p:cNvSpPr>
              <p:nvPr/>
            </p:nvSpPr>
            <p:spPr bwMode="auto">
              <a:xfrm>
                <a:off x="3476626" y="3368675"/>
                <a:ext cx="131763"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6" name="Freeform 202">
                <a:extLst>
                  <a:ext uri="{FF2B5EF4-FFF2-40B4-BE49-F238E27FC236}">
                    <a16:creationId xmlns:a16="http://schemas.microsoft.com/office/drawing/2014/main" id="{A829F65B-91DB-461D-9160-E924CA436FCF}"/>
                  </a:ext>
                </a:extLst>
              </p:cNvPr>
              <p:cNvSpPr>
                <a:spLocks noEditPoints="1"/>
              </p:cNvSpPr>
              <p:nvPr/>
            </p:nvSpPr>
            <p:spPr bwMode="auto">
              <a:xfrm>
                <a:off x="37417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7" name="Freeform 203">
                <a:extLst>
                  <a:ext uri="{FF2B5EF4-FFF2-40B4-BE49-F238E27FC236}">
                    <a16:creationId xmlns:a16="http://schemas.microsoft.com/office/drawing/2014/main" id="{4C3EBF09-95F2-46EE-9E13-DDE17D3099B9}"/>
                  </a:ext>
                </a:extLst>
              </p:cNvPr>
              <p:cNvSpPr>
                <a:spLocks noEditPoints="1"/>
              </p:cNvSpPr>
              <p:nvPr/>
            </p:nvSpPr>
            <p:spPr bwMode="auto">
              <a:xfrm>
                <a:off x="29924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8" name="Freeform 204">
                <a:extLst>
                  <a:ext uri="{FF2B5EF4-FFF2-40B4-BE49-F238E27FC236}">
                    <a16:creationId xmlns:a16="http://schemas.microsoft.com/office/drawing/2014/main" id="{478E8F12-3740-49F6-B50E-5895F3014388}"/>
                  </a:ext>
                </a:extLst>
              </p:cNvPr>
              <p:cNvSpPr>
                <a:spLocks noEditPoints="1"/>
              </p:cNvSpPr>
              <p:nvPr/>
            </p:nvSpPr>
            <p:spPr bwMode="auto">
              <a:xfrm>
                <a:off x="3235326"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59" name="Freeform 205">
                <a:extLst>
                  <a:ext uri="{FF2B5EF4-FFF2-40B4-BE49-F238E27FC236}">
                    <a16:creationId xmlns:a16="http://schemas.microsoft.com/office/drawing/2014/main" id="{840BDBB2-B961-4518-943B-54D0DE923533}"/>
                  </a:ext>
                </a:extLst>
              </p:cNvPr>
              <p:cNvSpPr>
                <a:spLocks noEditPoints="1"/>
              </p:cNvSpPr>
              <p:nvPr/>
            </p:nvSpPr>
            <p:spPr bwMode="auto">
              <a:xfrm>
                <a:off x="3235326"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60" name="Freeform 206">
                <a:extLst>
                  <a:ext uri="{FF2B5EF4-FFF2-40B4-BE49-F238E27FC236}">
                    <a16:creationId xmlns:a16="http://schemas.microsoft.com/office/drawing/2014/main" id="{92EB57EE-ECCE-47D2-9276-4D2C62CD2EF1}"/>
                  </a:ext>
                </a:extLst>
              </p:cNvPr>
              <p:cNvSpPr>
                <a:spLocks noEditPoints="1"/>
              </p:cNvSpPr>
              <p:nvPr/>
            </p:nvSpPr>
            <p:spPr bwMode="auto">
              <a:xfrm>
                <a:off x="37417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61" name="Freeform 207">
                <a:extLst>
                  <a:ext uri="{FF2B5EF4-FFF2-40B4-BE49-F238E27FC236}">
                    <a16:creationId xmlns:a16="http://schemas.microsoft.com/office/drawing/2014/main" id="{2DF57B24-125A-4D3A-8967-4558D178919C}"/>
                  </a:ext>
                </a:extLst>
              </p:cNvPr>
              <p:cNvSpPr>
                <a:spLocks noEditPoints="1"/>
              </p:cNvSpPr>
              <p:nvPr/>
            </p:nvSpPr>
            <p:spPr bwMode="auto">
              <a:xfrm>
                <a:off x="29924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grpSp>
        <p:sp>
          <p:nvSpPr>
            <p:cNvPr id="296" name="Oval 295">
              <a:extLst>
                <a:ext uri="{FF2B5EF4-FFF2-40B4-BE49-F238E27FC236}">
                  <a16:creationId xmlns:a16="http://schemas.microsoft.com/office/drawing/2014/main" id="{06896533-A47C-4E88-B5D3-D6F7652C455F}"/>
                </a:ext>
              </a:extLst>
            </p:cNvPr>
            <p:cNvSpPr/>
            <p:nvPr/>
          </p:nvSpPr>
          <p:spPr>
            <a:xfrm>
              <a:off x="5519579" y="1863387"/>
              <a:ext cx="2524466" cy="252446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sym typeface="CiscoSansTT ExtraLight"/>
              </a:endParaRPr>
            </a:p>
          </p:txBody>
        </p:sp>
        <p:pic>
          <p:nvPicPr>
            <p:cNvPr id="297" name="Picture 296">
              <a:extLst>
                <a:ext uri="{FF2B5EF4-FFF2-40B4-BE49-F238E27FC236}">
                  <a16:creationId xmlns:a16="http://schemas.microsoft.com/office/drawing/2014/main" id="{B194E8D1-6112-4221-8F0F-62103F237DF9}"/>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7323" t="-27355" r="-12247" b="-1"/>
            <a:stretch/>
          </p:blipFill>
          <p:spPr>
            <a:xfrm flipH="1">
              <a:off x="7058404" y="1804752"/>
              <a:ext cx="1469894" cy="1474598"/>
            </a:xfrm>
            <a:prstGeom prst="ellipse">
              <a:avLst/>
            </a:prstGeom>
          </p:spPr>
        </p:pic>
        <p:pic>
          <p:nvPicPr>
            <p:cNvPr id="298" name="Picture 297" descr="A picture containing person, table, man, holding&#10;&#10;Description automatically generated">
              <a:extLst>
                <a:ext uri="{FF2B5EF4-FFF2-40B4-BE49-F238E27FC236}">
                  <a16:creationId xmlns:a16="http://schemas.microsoft.com/office/drawing/2014/main" id="{CD5482B4-4447-464E-AB44-7096FF9A49D0}"/>
                </a:ext>
              </a:extLst>
            </p:cNvPr>
            <p:cNvPicPr>
              <a:picLocks noChangeAspect="1"/>
            </p:cNvPicPr>
            <p:nvPr/>
          </p:nvPicPr>
          <p:blipFill>
            <a:blip r:embed="rId10" cstate="screen">
              <a:grayscl/>
              <a:extLst>
                <a:ext uri="{28A0092B-C50C-407E-A947-70E740481C1C}">
                  <a14:useLocalDpi xmlns:a14="http://schemas.microsoft.com/office/drawing/2010/main"/>
                </a:ext>
              </a:extLst>
            </a:blip>
            <a:srcRect/>
            <a:stretch>
              <a:fillRect/>
            </a:stretch>
          </p:blipFill>
          <p:spPr>
            <a:xfrm>
              <a:off x="5507671" y="1847125"/>
              <a:ext cx="2535845" cy="2516267"/>
            </a:xfrm>
            <a:custGeom>
              <a:avLst/>
              <a:gdLst>
                <a:gd name="connsiteX0" fmla="*/ 1333500 w 2664810"/>
                <a:gd name="connsiteY0" fmla="*/ 0 h 2644239"/>
                <a:gd name="connsiteX1" fmla="*/ 2660115 w 2664810"/>
                <a:gd name="connsiteY1" fmla="*/ 1197157 h 2644239"/>
                <a:gd name="connsiteX2" fmla="*/ 2664810 w 2664810"/>
                <a:gd name="connsiteY2" fmla="*/ 1290132 h 2644239"/>
                <a:gd name="connsiteX3" fmla="*/ 2664810 w 2664810"/>
                <a:gd name="connsiteY3" fmla="*/ 1376869 h 2644239"/>
                <a:gd name="connsiteX4" fmla="*/ 2660115 w 2664810"/>
                <a:gd name="connsiteY4" fmla="*/ 1469843 h 2644239"/>
                <a:gd name="connsiteX5" fmla="*/ 1602247 w 2664810"/>
                <a:gd name="connsiteY5" fmla="*/ 2639908 h 2644239"/>
                <a:gd name="connsiteX6" fmla="*/ 1573869 w 2664810"/>
                <a:gd name="connsiteY6" fmla="*/ 2644239 h 2644239"/>
                <a:gd name="connsiteX7" fmla="*/ 1093132 w 2664810"/>
                <a:gd name="connsiteY7" fmla="*/ 2644239 h 2644239"/>
                <a:gd name="connsiteX8" fmla="*/ 1064753 w 2664810"/>
                <a:gd name="connsiteY8" fmla="*/ 2639908 h 2644239"/>
                <a:gd name="connsiteX9" fmla="*/ 0 w 2664810"/>
                <a:gd name="connsiteY9" fmla="*/ 1333500 h 2644239"/>
                <a:gd name="connsiteX10" fmla="*/ 1333500 w 2664810"/>
                <a:gd name="connsiteY10" fmla="*/ 0 h 264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810" h="2644239">
                  <a:moveTo>
                    <a:pt x="1333500" y="0"/>
                  </a:moveTo>
                  <a:cubicBezTo>
                    <a:pt x="2023943" y="0"/>
                    <a:pt x="2591827" y="524732"/>
                    <a:pt x="2660115" y="1197157"/>
                  </a:cubicBezTo>
                  <a:lnTo>
                    <a:pt x="2664810" y="1290132"/>
                  </a:lnTo>
                  <a:lnTo>
                    <a:pt x="2664810" y="1376869"/>
                  </a:lnTo>
                  <a:lnTo>
                    <a:pt x="2660115" y="1469843"/>
                  </a:lnTo>
                  <a:cubicBezTo>
                    <a:pt x="2600932" y="2052612"/>
                    <a:pt x="2166497" y="2524446"/>
                    <a:pt x="1602247" y="2639908"/>
                  </a:cubicBezTo>
                  <a:lnTo>
                    <a:pt x="1573869" y="2644239"/>
                  </a:lnTo>
                  <a:lnTo>
                    <a:pt x="1093132" y="2644239"/>
                  </a:lnTo>
                  <a:lnTo>
                    <a:pt x="1064753" y="2639908"/>
                  </a:lnTo>
                  <a:cubicBezTo>
                    <a:pt x="457100" y="2515564"/>
                    <a:pt x="0" y="1977913"/>
                    <a:pt x="0" y="1333500"/>
                  </a:cubicBezTo>
                  <a:cubicBezTo>
                    <a:pt x="0" y="597028"/>
                    <a:pt x="597028" y="0"/>
                    <a:pt x="1333500" y="0"/>
                  </a:cubicBezTo>
                  <a:close/>
                </a:path>
              </a:pathLst>
            </a:custGeom>
          </p:spPr>
        </p:pic>
        <p:pic>
          <p:nvPicPr>
            <p:cNvPr id="304" name="Picture 303" descr="A picture containing light&#10;&#10;Description automatically generated">
              <a:extLst>
                <a:ext uri="{FF2B5EF4-FFF2-40B4-BE49-F238E27FC236}">
                  <a16:creationId xmlns:a16="http://schemas.microsoft.com/office/drawing/2014/main" id="{A015B29C-F4CE-497C-9D30-34AB290BF86F}"/>
                </a:ext>
              </a:extLst>
            </p:cNvPr>
            <p:cNvPicPr>
              <a:picLocks noChangeAspect="1"/>
            </p:cNvPicPr>
            <p:nvPr/>
          </p:nvPicPr>
          <p:blipFill rotWithShape="1">
            <a:blip r:embed="rId11" cstate="screen">
              <a:grayscl/>
              <a:extLst>
                <a:ext uri="{28A0092B-C50C-407E-A947-70E740481C1C}">
                  <a14:useLocalDpi xmlns:a14="http://schemas.microsoft.com/office/drawing/2010/main"/>
                </a:ext>
              </a:extLst>
            </a:blip>
            <a:srcRect/>
            <a:stretch/>
          </p:blipFill>
          <p:spPr>
            <a:xfrm rot="666370">
              <a:off x="5328779" y="3457410"/>
              <a:ext cx="1806485" cy="875817"/>
            </a:xfrm>
            <a:prstGeom prst="rect">
              <a:avLst/>
            </a:prstGeom>
          </p:spPr>
        </p:pic>
        <p:grpSp>
          <p:nvGrpSpPr>
            <p:cNvPr id="305" name="Graphic 75">
              <a:extLst>
                <a:ext uri="{FF2B5EF4-FFF2-40B4-BE49-F238E27FC236}">
                  <a16:creationId xmlns:a16="http://schemas.microsoft.com/office/drawing/2014/main" id="{F7064EC5-9300-4368-9BF4-BA8EA7A2B3BA}"/>
                </a:ext>
              </a:extLst>
            </p:cNvPr>
            <p:cNvGrpSpPr/>
            <p:nvPr/>
          </p:nvGrpSpPr>
          <p:grpSpPr>
            <a:xfrm>
              <a:off x="6075633" y="3664496"/>
              <a:ext cx="618465" cy="632883"/>
              <a:chOff x="4820236" y="1931698"/>
              <a:chExt cx="926552" cy="948156"/>
            </a:xfrm>
            <a:solidFill>
              <a:schemeClr val="accent1"/>
            </a:solidFill>
          </p:grpSpPr>
          <p:sp>
            <p:nvSpPr>
              <p:cNvPr id="325" name="Freeform: Shape 324">
                <a:extLst>
                  <a:ext uri="{FF2B5EF4-FFF2-40B4-BE49-F238E27FC236}">
                    <a16:creationId xmlns:a16="http://schemas.microsoft.com/office/drawing/2014/main" id="{1CA8BE48-305B-4165-A779-D7EE39DEBC00}"/>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6" name="Freeform: Shape 325">
                <a:extLst>
                  <a:ext uri="{FF2B5EF4-FFF2-40B4-BE49-F238E27FC236}">
                    <a16:creationId xmlns:a16="http://schemas.microsoft.com/office/drawing/2014/main" id="{12B16619-BDB9-4770-AEF8-19E4D487CAFC}"/>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7" name="Freeform: Shape 326">
                <a:extLst>
                  <a:ext uri="{FF2B5EF4-FFF2-40B4-BE49-F238E27FC236}">
                    <a16:creationId xmlns:a16="http://schemas.microsoft.com/office/drawing/2014/main" id="{B5C0B22B-A514-4B59-9121-D434E3058FB7}"/>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8" name="Freeform: Shape 327">
                <a:extLst>
                  <a:ext uri="{FF2B5EF4-FFF2-40B4-BE49-F238E27FC236}">
                    <a16:creationId xmlns:a16="http://schemas.microsoft.com/office/drawing/2014/main" id="{B900CF98-6312-4706-8E13-157D1ECA300B}"/>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9" name="Freeform: Shape 328">
                <a:extLst>
                  <a:ext uri="{FF2B5EF4-FFF2-40B4-BE49-F238E27FC236}">
                    <a16:creationId xmlns:a16="http://schemas.microsoft.com/office/drawing/2014/main" id="{3DCFF3DD-6A55-4831-B4F7-85AB6F2A4DBF}"/>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0" name="Freeform: Shape 329">
                <a:extLst>
                  <a:ext uri="{FF2B5EF4-FFF2-40B4-BE49-F238E27FC236}">
                    <a16:creationId xmlns:a16="http://schemas.microsoft.com/office/drawing/2014/main" id="{25BB0A0A-4302-40A6-AE44-13358B9C9EA2}"/>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1" name="Freeform: Shape 330">
                <a:extLst>
                  <a:ext uri="{FF2B5EF4-FFF2-40B4-BE49-F238E27FC236}">
                    <a16:creationId xmlns:a16="http://schemas.microsoft.com/office/drawing/2014/main" id="{71390323-0AB1-45C3-B9B4-45709631AFC6}"/>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2" name="Freeform: Shape 331">
                <a:extLst>
                  <a:ext uri="{FF2B5EF4-FFF2-40B4-BE49-F238E27FC236}">
                    <a16:creationId xmlns:a16="http://schemas.microsoft.com/office/drawing/2014/main" id="{D218EBD2-2E63-463F-899E-A91368407EF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3" name="Freeform: Shape 332">
                <a:extLst>
                  <a:ext uri="{FF2B5EF4-FFF2-40B4-BE49-F238E27FC236}">
                    <a16:creationId xmlns:a16="http://schemas.microsoft.com/office/drawing/2014/main" id="{6A2B5EEB-B062-4E73-BEDC-03C31FE78A03}"/>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4" name="Freeform: Shape 333">
                <a:extLst>
                  <a:ext uri="{FF2B5EF4-FFF2-40B4-BE49-F238E27FC236}">
                    <a16:creationId xmlns:a16="http://schemas.microsoft.com/office/drawing/2014/main" id="{3C4F65E7-A684-4BB2-AF11-1432E923213E}"/>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5" name="Freeform: Shape 334">
                <a:extLst>
                  <a:ext uri="{FF2B5EF4-FFF2-40B4-BE49-F238E27FC236}">
                    <a16:creationId xmlns:a16="http://schemas.microsoft.com/office/drawing/2014/main" id="{F1343113-5AB5-4061-8DBD-162C62E4780E}"/>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6" name="Freeform: Shape 335">
                <a:extLst>
                  <a:ext uri="{FF2B5EF4-FFF2-40B4-BE49-F238E27FC236}">
                    <a16:creationId xmlns:a16="http://schemas.microsoft.com/office/drawing/2014/main" id="{D8413017-4B5D-4EAE-BE15-815B4FD045C6}"/>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7" name="Freeform: Shape 336">
                <a:extLst>
                  <a:ext uri="{FF2B5EF4-FFF2-40B4-BE49-F238E27FC236}">
                    <a16:creationId xmlns:a16="http://schemas.microsoft.com/office/drawing/2014/main" id="{76DD6C47-B384-43C0-9E3C-22589F80C4E2}"/>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8" name="Freeform: Shape 337">
                <a:extLst>
                  <a:ext uri="{FF2B5EF4-FFF2-40B4-BE49-F238E27FC236}">
                    <a16:creationId xmlns:a16="http://schemas.microsoft.com/office/drawing/2014/main" id="{3044E9D2-6345-496F-AD54-C959629405F7}"/>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39" name="Freeform: Shape 338">
                <a:extLst>
                  <a:ext uri="{FF2B5EF4-FFF2-40B4-BE49-F238E27FC236}">
                    <a16:creationId xmlns:a16="http://schemas.microsoft.com/office/drawing/2014/main" id="{24135D20-48F9-4A50-8342-7B52C4466B0E}"/>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0" name="Freeform: Shape 339">
                <a:extLst>
                  <a:ext uri="{FF2B5EF4-FFF2-40B4-BE49-F238E27FC236}">
                    <a16:creationId xmlns:a16="http://schemas.microsoft.com/office/drawing/2014/main" id="{85B8E4B4-96E7-4B84-807E-A217787D2AC4}"/>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1" name="Freeform: Shape 340">
                <a:extLst>
                  <a:ext uri="{FF2B5EF4-FFF2-40B4-BE49-F238E27FC236}">
                    <a16:creationId xmlns:a16="http://schemas.microsoft.com/office/drawing/2014/main" id="{59CA3C62-1868-4FE8-A5B5-EAC8B3E00E95}"/>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42" name="Freeform: Shape 341">
                <a:extLst>
                  <a:ext uri="{FF2B5EF4-FFF2-40B4-BE49-F238E27FC236}">
                    <a16:creationId xmlns:a16="http://schemas.microsoft.com/office/drawing/2014/main" id="{C1726306-69D8-4C37-8DEF-A240A22D56A3}"/>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grpSp>
        <p:grpSp>
          <p:nvGrpSpPr>
            <p:cNvPr id="306" name="Graphic 75">
              <a:extLst>
                <a:ext uri="{FF2B5EF4-FFF2-40B4-BE49-F238E27FC236}">
                  <a16:creationId xmlns:a16="http://schemas.microsoft.com/office/drawing/2014/main" id="{3A65A8B1-94A5-44B8-8516-2FA993D2E3FE}"/>
                </a:ext>
              </a:extLst>
            </p:cNvPr>
            <p:cNvGrpSpPr/>
            <p:nvPr/>
          </p:nvGrpSpPr>
          <p:grpSpPr>
            <a:xfrm>
              <a:off x="5235132" y="3491781"/>
              <a:ext cx="618465" cy="632883"/>
              <a:chOff x="4820236" y="1931698"/>
              <a:chExt cx="926552" cy="948156"/>
            </a:xfrm>
            <a:solidFill>
              <a:schemeClr val="accent2"/>
            </a:solidFill>
          </p:grpSpPr>
          <p:sp>
            <p:nvSpPr>
              <p:cNvPr id="307" name="Freeform: Shape 306">
                <a:extLst>
                  <a:ext uri="{FF2B5EF4-FFF2-40B4-BE49-F238E27FC236}">
                    <a16:creationId xmlns:a16="http://schemas.microsoft.com/office/drawing/2014/main" id="{0FF51B8D-2FBE-4C1A-A691-C1CADF944C8D}"/>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08" name="Freeform: Shape 307">
                <a:extLst>
                  <a:ext uri="{FF2B5EF4-FFF2-40B4-BE49-F238E27FC236}">
                    <a16:creationId xmlns:a16="http://schemas.microsoft.com/office/drawing/2014/main" id="{0951AD13-BF96-4CBE-B408-E6531AA89A2B}"/>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09" name="Freeform: Shape 308">
                <a:extLst>
                  <a:ext uri="{FF2B5EF4-FFF2-40B4-BE49-F238E27FC236}">
                    <a16:creationId xmlns:a16="http://schemas.microsoft.com/office/drawing/2014/main" id="{FE0FCEDB-6B52-473E-B3E7-458A147DF221}"/>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0" name="Freeform: Shape 309">
                <a:extLst>
                  <a:ext uri="{FF2B5EF4-FFF2-40B4-BE49-F238E27FC236}">
                    <a16:creationId xmlns:a16="http://schemas.microsoft.com/office/drawing/2014/main" id="{12F5A9EC-A4C9-4D26-9690-0B222EB2BB81}"/>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1" name="Freeform: Shape 310">
                <a:extLst>
                  <a:ext uri="{FF2B5EF4-FFF2-40B4-BE49-F238E27FC236}">
                    <a16:creationId xmlns:a16="http://schemas.microsoft.com/office/drawing/2014/main" id="{EEB86732-D0D0-41C3-8803-1BEF7FD08911}"/>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2" name="Freeform: Shape 311">
                <a:extLst>
                  <a:ext uri="{FF2B5EF4-FFF2-40B4-BE49-F238E27FC236}">
                    <a16:creationId xmlns:a16="http://schemas.microsoft.com/office/drawing/2014/main" id="{C33A5769-8920-4164-A250-FF40D43026DD}"/>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3" name="Freeform: Shape 312">
                <a:extLst>
                  <a:ext uri="{FF2B5EF4-FFF2-40B4-BE49-F238E27FC236}">
                    <a16:creationId xmlns:a16="http://schemas.microsoft.com/office/drawing/2014/main" id="{5BBA335C-A5A8-4CA5-9649-2456E3EAD7BE}"/>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4" name="Freeform: Shape 313">
                <a:extLst>
                  <a:ext uri="{FF2B5EF4-FFF2-40B4-BE49-F238E27FC236}">
                    <a16:creationId xmlns:a16="http://schemas.microsoft.com/office/drawing/2014/main" id="{7DCC595E-FAAF-4436-B46C-DB48D089F3F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5" name="Freeform: Shape 314">
                <a:extLst>
                  <a:ext uri="{FF2B5EF4-FFF2-40B4-BE49-F238E27FC236}">
                    <a16:creationId xmlns:a16="http://schemas.microsoft.com/office/drawing/2014/main" id="{F7ED3BC4-3731-4BF2-827E-011DE69DFC99}"/>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6" name="Freeform: Shape 315">
                <a:extLst>
                  <a:ext uri="{FF2B5EF4-FFF2-40B4-BE49-F238E27FC236}">
                    <a16:creationId xmlns:a16="http://schemas.microsoft.com/office/drawing/2014/main" id="{23E91DE8-5606-49EF-BCEA-6F2B568BCF46}"/>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7" name="Freeform: Shape 316">
                <a:extLst>
                  <a:ext uri="{FF2B5EF4-FFF2-40B4-BE49-F238E27FC236}">
                    <a16:creationId xmlns:a16="http://schemas.microsoft.com/office/drawing/2014/main" id="{CDE591A3-7EEF-4B71-9F0C-044F65294223}"/>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8" name="Freeform: Shape 317">
                <a:extLst>
                  <a:ext uri="{FF2B5EF4-FFF2-40B4-BE49-F238E27FC236}">
                    <a16:creationId xmlns:a16="http://schemas.microsoft.com/office/drawing/2014/main" id="{DB4DFE23-B6B4-4786-A250-55EECFB0B587}"/>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19" name="Freeform: Shape 318">
                <a:extLst>
                  <a:ext uri="{FF2B5EF4-FFF2-40B4-BE49-F238E27FC236}">
                    <a16:creationId xmlns:a16="http://schemas.microsoft.com/office/drawing/2014/main" id="{1E8C6A53-2CD2-428D-A7EC-BB660D272B39}"/>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0" name="Freeform: Shape 319">
                <a:extLst>
                  <a:ext uri="{FF2B5EF4-FFF2-40B4-BE49-F238E27FC236}">
                    <a16:creationId xmlns:a16="http://schemas.microsoft.com/office/drawing/2014/main" id="{E3E32384-D32D-4D96-A6C6-AD97B4893836}"/>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1" name="Freeform: Shape 320">
                <a:extLst>
                  <a:ext uri="{FF2B5EF4-FFF2-40B4-BE49-F238E27FC236}">
                    <a16:creationId xmlns:a16="http://schemas.microsoft.com/office/drawing/2014/main" id="{E12FD524-4875-4189-813C-B371476552AC}"/>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2" name="Freeform: Shape 321">
                <a:extLst>
                  <a:ext uri="{FF2B5EF4-FFF2-40B4-BE49-F238E27FC236}">
                    <a16:creationId xmlns:a16="http://schemas.microsoft.com/office/drawing/2014/main" id="{075C280C-955A-4AB7-BB18-8143976681C9}"/>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3" name="Freeform: Shape 322">
                <a:extLst>
                  <a:ext uri="{FF2B5EF4-FFF2-40B4-BE49-F238E27FC236}">
                    <a16:creationId xmlns:a16="http://schemas.microsoft.com/office/drawing/2014/main" id="{BC90371F-5816-41C2-AB73-E1FF612F5C2C}"/>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sp>
            <p:nvSpPr>
              <p:cNvPr id="324" name="Freeform: Shape 323">
                <a:extLst>
                  <a:ext uri="{FF2B5EF4-FFF2-40B4-BE49-F238E27FC236}">
                    <a16:creationId xmlns:a16="http://schemas.microsoft.com/office/drawing/2014/main" id="{17C43AC3-47F7-46E2-AFC8-44139C18783E}"/>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cs typeface="CiscoSansTT ExtraLight"/>
                  <a:sym typeface="CiscoSansTT ExtraLight"/>
                </a:endParaRPr>
              </a:p>
            </p:txBody>
          </p:sp>
        </p:grpSp>
        <p:pic>
          <p:nvPicPr>
            <p:cNvPr id="367" name="Graphic 366">
              <a:extLst>
                <a:ext uri="{FF2B5EF4-FFF2-40B4-BE49-F238E27FC236}">
                  <a16:creationId xmlns:a16="http://schemas.microsoft.com/office/drawing/2014/main" id="{EF6EBF36-32D2-4877-A61B-F4495D60175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865562" y="1190243"/>
              <a:ext cx="2587422" cy="2294638"/>
            </a:xfrm>
            <a:prstGeom prst="rect">
              <a:avLst/>
            </a:prstGeom>
            <a:effectLst/>
          </p:spPr>
        </p:pic>
        <p:pic>
          <p:nvPicPr>
            <p:cNvPr id="302" name="Picture 301" descr="A close up of a black background&#10;&#10;Description automatically generated">
              <a:extLst>
                <a:ext uri="{FF2B5EF4-FFF2-40B4-BE49-F238E27FC236}">
                  <a16:creationId xmlns:a16="http://schemas.microsoft.com/office/drawing/2014/main" id="{3357CC9B-C06E-449E-8FE3-17E3DBEB32A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578096" y="1231351"/>
              <a:ext cx="3125359" cy="2225082"/>
            </a:xfrm>
            <a:prstGeom prst="ellipse">
              <a:avLst/>
            </a:prstGeom>
            <a:ln>
              <a:noFill/>
            </a:ln>
          </p:spPr>
        </p:pic>
        <p:pic>
          <p:nvPicPr>
            <p:cNvPr id="366" name="Graphic 365">
              <a:extLst>
                <a:ext uri="{FF2B5EF4-FFF2-40B4-BE49-F238E27FC236}">
                  <a16:creationId xmlns:a16="http://schemas.microsoft.com/office/drawing/2014/main" id="{395BE2B1-CC8D-4169-8A3B-638A55657E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53509" y="1180083"/>
              <a:ext cx="2587422" cy="2294638"/>
            </a:xfrm>
            <a:prstGeom prst="rect">
              <a:avLst/>
            </a:prstGeom>
          </p:spPr>
        </p:pic>
      </p:grpSp>
      <p:sp>
        <p:nvSpPr>
          <p:cNvPr id="79" name="Rectangle 78">
            <a:hlinkClick r:id="rId17"/>
            <a:extLst>
              <a:ext uri="{FF2B5EF4-FFF2-40B4-BE49-F238E27FC236}">
                <a16:creationId xmlns:a16="http://schemas.microsoft.com/office/drawing/2014/main" id="{C920E3CE-A8BD-4ABB-A2FC-491318D7504B}"/>
              </a:ext>
            </a:extLst>
          </p:cNvPr>
          <p:cNvSpPr/>
          <p:nvPr/>
        </p:nvSpPr>
        <p:spPr>
          <a:xfrm>
            <a:off x="5914363" y="4696897"/>
            <a:ext cx="2654894" cy="307777"/>
          </a:xfrm>
          <a:prstGeom prst="rect">
            <a:avLst/>
          </a:prstGeom>
        </p:spPr>
        <p:txBody>
          <a:bodyPr wrap="none">
            <a:spAutoFit/>
          </a:bodyPr>
          <a:lstStyle/>
          <a:p>
            <a:r>
              <a:rPr lang="en-US" sz="1400" dirty="0">
                <a:solidFill>
                  <a:schemeClr val="accent2"/>
                </a:solidFill>
                <a:latin typeface="+mj-lt"/>
                <a:hlinkClick r:id="rId18"/>
              </a:rPr>
              <a:t>cisco.com/go/</a:t>
            </a:r>
            <a:r>
              <a:rPr lang="en-US" sz="1400" dirty="0" err="1">
                <a:solidFill>
                  <a:schemeClr val="accent2"/>
                </a:solidFill>
                <a:latin typeface="+mj-lt"/>
                <a:hlinkClick r:id="rId18"/>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154878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0E4615E-0089-0242-9A91-A246CD2F2DDD}"/>
              </a:ext>
            </a:extLst>
          </p:cNvPr>
          <p:cNvGrpSpPr/>
          <p:nvPr/>
        </p:nvGrpSpPr>
        <p:grpSpPr>
          <a:xfrm>
            <a:off x="4447950" y="507498"/>
            <a:ext cx="3857144" cy="3349454"/>
            <a:chOff x="4373610" y="700782"/>
            <a:chExt cx="3857144" cy="3349454"/>
          </a:xfrm>
        </p:grpSpPr>
        <p:sp>
          <p:nvSpPr>
            <p:cNvPr id="59" name="Cross 58">
              <a:extLst>
                <a:ext uri="{FF2B5EF4-FFF2-40B4-BE49-F238E27FC236}">
                  <a16:creationId xmlns:a16="http://schemas.microsoft.com/office/drawing/2014/main" id="{0F05F4CF-892A-B247-A3A5-BD56249DD7CB}"/>
                </a:ext>
              </a:extLst>
            </p:cNvPr>
            <p:cNvSpPr/>
            <p:nvPr/>
          </p:nvSpPr>
          <p:spPr>
            <a:xfrm>
              <a:off x="7271636" y="3399425"/>
              <a:ext cx="184986" cy="189880"/>
            </a:xfrm>
            <a:prstGeom prst="plus">
              <a:avLst>
                <a:gd name="adj" fmla="val 41406"/>
              </a:avLst>
            </a:prstGeom>
            <a:solidFill>
              <a:srgbClr val="6EBE4A"/>
            </a:solidFill>
            <a:ln w="25400" cap="flat" cmpd="sng" algn="ctr">
              <a:noFill/>
              <a:prstDash val="solid"/>
            </a:ln>
            <a:effectLst/>
          </p:spPr>
          <p:txBody>
            <a:bodyPr rtlCol="0" anchor="ctr">
              <a:normAutofit fontScale="40000" lnSpcReduction="20000"/>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D274D"/>
                </a:solidFill>
                <a:effectLst/>
                <a:uLnTx/>
                <a:uFillTx/>
                <a:ea typeface="+mn-ea"/>
              </a:endParaRPr>
            </a:p>
          </p:txBody>
        </p:sp>
        <p:sp>
          <p:nvSpPr>
            <p:cNvPr id="60" name="Oval 59">
              <a:extLst>
                <a:ext uri="{FF2B5EF4-FFF2-40B4-BE49-F238E27FC236}">
                  <a16:creationId xmlns:a16="http://schemas.microsoft.com/office/drawing/2014/main" id="{226EF207-0926-B949-88FE-D13898A47771}"/>
                </a:ext>
              </a:extLst>
            </p:cNvPr>
            <p:cNvSpPr/>
            <p:nvPr/>
          </p:nvSpPr>
          <p:spPr>
            <a:xfrm>
              <a:off x="6778491" y="3313939"/>
              <a:ext cx="305427" cy="313507"/>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nvGrpSpPr>
            <p:cNvPr id="61" name="Group 60">
              <a:extLst>
                <a:ext uri="{FF2B5EF4-FFF2-40B4-BE49-F238E27FC236}">
                  <a16:creationId xmlns:a16="http://schemas.microsoft.com/office/drawing/2014/main" id="{1B4F9315-7900-AA49-B763-30BE9ED20B8F}"/>
                </a:ext>
              </a:extLst>
            </p:cNvPr>
            <p:cNvGrpSpPr/>
            <p:nvPr/>
          </p:nvGrpSpPr>
          <p:grpSpPr>
            <a:xfrm>
              <a:off x="6839854" y="3396455"/>
              <a:ext cx="182701" cy="148473"/>
              <a:chOff x="3596371" y="2865625"/>
              <a:chExt cx="713422" cy="564832"/>
            </a:xfrm>
          </p:grpSpPr>
          <p:sp>
            <p:nvSpPr>
              <p:cNvPr id="180" name="Graphic 139">
                <a:extLst>
                  <a:ext uri="{FF2B5EF4-FFF2-40B4-BE49-F238E27FC236}">
                    <a16:creationId xmlns:a16="http://schemas.microsoft.com/office/drawing/2014/main" id="{877F936B-5B6C-9F4B-B476-325D59DA8B9F}"/>
                  </a:ext>
                </a:extLst>
              </p:cNvPr>
              <p:cNvSpPr/>
              <p:nvPr/>
            </p:nvSpPr>
            <p:spPr>
              <a:xfrm>
                <a:off x="3596371" y="2865625"/>
                <a:ext cx="713422" cy="564832"/>
              </a:xfrm>
              <a:custGeom>
                <a:avLst/>
                <a:gdLst>
                  <a:gd name="connsiteX0" fmla="*/ 630555 w 713422"/>
                  <a:gd name="connsiteY0" fmla="*/ 564833 h 564832"/>
                  <a:gd name="connsiteX1" fmla="*/ 81915 w 713422"/>
                  <a:gd name="connsiteY1" fmla="*/ 564833 h 564832"/>
                  <a:gd name="connsiteX2" fmla="*/ 0 w 713422"/>
                  <a:gd name="connsiteY2" fmla="*/ 482918 h 564832"/>
                  <a:gd name="connsiteX3" fmla="*/ 0 w 713422"/>
                  <a:gd name="connsiteY3" fmla="*/ 81915 h 564832"/>
                  <a:gd name="connsiteX4" fmla="*/ 81915 w 713422"/>
                  <a:gd name="connsiteY4" fmla="*/ 0 h 564832"/>
                  <a:gd name="connsiteX5" fmla="*/ 631508 w 713422"/>
                  <a:gd name="connsiteY5" fmla="*/ 0 h 564832"/>
                  <a:gd name="connsiteX6" fmla="*/ 713423 w 713422"/>
                  <a:gd name="connsiteY6" fmla="*/ 81915 h 564832"/>
                  <a:gd name="connsiteX7" fmla="*/ 713423 w 713422"/>
                  <a:gd name="connsiteY7" fmla="*/ 482918 h 564832"/>
                  <a:gd name="connsiteX8" fmla="*/ 630555 w 713422"/>
                  <a:gd name="connsiteY8" fmla="*/ 564833 h 56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422" h="564832">
                    <a:moveTo>
                      <a:pt x="630555" y="564833"/>
                    </a:moveTo>
                    <a:lnTo>
                      <a:pt x="81915" y="564833"/>
                    </a:lnTo>
                    <a:cubicBezTo>
                      <a:pt x="37148" y="564833"/>
                      <a:pt x="0" y="528638"/>
                      <a:pt x="0" y="482918"/>
                    </a:cubicBezTo>
                    <a:lnTo>
                      <a:pt x="0" y="81915"/>
                    </a:lnTo>
                    <a:cubicBezTo>
                      <a:pt x="0" y="36195"/>
                      <a:pt x="36195" y="0"/>
                      <a:pt x="81915" y="0"/>
                    </a:cubicBezTo>
                    <a:lnTo>
                      <a:pt x="631508" y="0"/>
                    </a:lnTo>
                    <a:cubicBezTo>
                      <a:pt x="676275" y="0"/>
                      <a:pt x="713423" y="36195"/>
                      <a:pt x="713423" y="81915"/>
                    </a:cubicBezTo>
                    <a:lnTo>
                      <a:pt x="713423" y="482918"/>
                    </a:lnTo>
                    <a:cubicBezTo>
                      <a:pt x="712470" y="527685"/>
                      <a:pt x="676275" y="564833"/>
                      <a:pt x="630555" y="564833"/>
                    </a:cubicBezTo>
                    <a:close/>
                  </a:path>
                </a:pathLst>
              </a:custGeom>
              <a:solidFill>
                <a:srgbClr val="1E4471"/>
              </a:solidFill>
              <a:ln w="9525" cap="flat">
                <a:noFill/>
                <a:prstDash val="solid"/>
                <a:miter/>
              </a:ln>
            </p:spPr>
            <p:txBody>
              <a:bodyPr rtlCol="0" anchor="ctr">
                <a:normAutofit fontScale="25000" lnSpcReduction="20000"/>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pic>
            <p:nvPicPr>
              <p:cNvPr id="181" name="Graphic 87">
                <a:extLst>
                  <a:ext uri="{FF2B5EF4-FFF2-40B4-BE49-F238E27FC236}">
                    <a16:creationId xmlns:a16="http://schemas.microsoft.com/office/drawing/2014/main" id="{6E68F6AF-0652-A843-A59E-23FD448B76E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20989" y="2915950"/>
                <a:ext cx="464186" cy="464183"/>
              </a:xfrm>
              <a:prstGeom prst="rect">
                <a:avLst/>
              </a:prstGeom>
            </p:spPr>
          </p:pic>
        </p:grpSp>
        <p:sp>
          <p:nvSpPr>
            <p:cNvPr id="62" name="Freeform 5">
              <a:extLst>
                <a:ext uri="{FF2B5EF4-FFF2-40B4-BE49-F238E27FC236}">
                  <a16:creationId xmlns:a16="http://schemas.microsoft.com/office/drawing/2014/main" id="{D8073D58-F4B7-544E-B308-47A7E66D744D}"/>
                </a:ext>
              </a:extLst>
            </p:cNvPr>
            <p:cNvSpPr>
              <a:spLocks noEditPoints="1"/>
            </p:cNvSpPr>
            <p:nvPr/>
          </p:nvSpPr>
          <p:spPr bwMode="auto">
            <a:xfrm>
              <a:off x="4825919" y="1655372"/>
              <a:ext cx="1276422" cy="1361952"/>
            </a:xfrm>
            <a:custGeom>
              <a:avLst/>
              <a:gdLst>
                <a:gd name="T0" fmla="*/ 2384 w 2664"/>
                <a:gd name="T1" fmla="*/ 2223 h 2761"/>
                <a:gd name="T2" fmla="*/ 2117 w 2664"/>
                <a:gd name="T3" fmla="*/ 2441 h 2761"/>
                <a:gd name="T4" fmla="*/ 2584 w 2664"/>
                <a:gd name="T5" fmla="*/ 1806 h 2761"/>
                <a:gd name="T6" fmla="*/ 1742 w 2664"/>
                <a:gd name="T7" fmla="*/ 2679 h 2761"/>
                <a:gd name="T8" fmla="*/ 2610 w 2664"/>
                <a:gd name="T9" fmla="*/ 1561 h 2761"/>
                <a:gd name="T10" fmla="*/ 1544 w 2664"/>
                <a:gd name="T11" fmla="*/ 2732 h 2761"/>
                <a:gd name="T12" fmla="*/ 2610 w 2664"/>
                <a:gd name="T13" fmla="*/ 1561 h 2761"/>
                <a:gd name="T14" fmla="*/ 2656 w 2664"/>
                <a:gd name="T15" fmla="*/ 1397 h 2761"/>
                <a:gd name="T16" fmla="*/ 1322 w 2664"/>
                <a:gd name="T17" fmla="*/ 2725 h 2761"/>
                <a:gd name="T18" fmla="*/ 2649 w 2664"/>
                <a:gd name="T19" fmla="*/ 1198 h 2761"/>
                <a:gd name="T20" fmla="*/ 1154 w 2664"/>
                <a:gd name="T21" fmla="*/ 2739 h 2761"/>
                <a:gd name="T22" fmla="*/ 2591 w 2664"/>
                <a:gd name="T23" fmla="*/ 1046 h 2761"/>
                <a:gd name="T24" fmla="*/ 1031 w 2664"/>
                <a:gd name="T25" fmla="*/ 2713 h 2761"/>
                <a:gd name="T26" fmla="*/ 2591 w 2664"/>
                <a:gd name="T27" fmla="*/ 1046 h 2761"/>
                <a:gd name="T28" fmla="*/ 2578 w 2664"/>
                <a:gd name="T29" fmla="*/ 935 h 2761"/>
                <a:gd name="T30" fmla="*/ 876 w 2664"/>
                <a:gd name="T31" fmla="*/ 2639 h 2761"/>
                <a:gd name="T32" fmla="*/ 2526 w 2664"/>
                <a:gd name="T33" fmla="*/ 782 h 2761"/>
                <a:gd name="T34" fmla="*/ 753 w 2664"/>
                <a:gd name="T35" fmla="*/ 2613 h 2761"/>
                <a:gd name="T36" fmla="*/ 2435 w 2664"/>
                <a:gd name="T37" fmla="*/ 663 h 2761"/>
                <a:gd name="T38" fmla="*/ 663 w 2664"/>
                <a:gd name="T39" fmla="*/ 2547 h 2761"/>
                <a:gd name="T40" fmla="*/ 2435 w 2664"/>
                <a:gd name="T41" fmla="*/ 663 h 2761"/>
                <a:gd name="T42" fmla="*/ 2390 w 2664"/>
                <a:gd name="T43" fmla="*/ 584 h 2761"/>
                <a:gd name="T44" fmla="*/ 533 w 2664"/>
                <a:gd name="T45" fmla="*/ 2448 h 2761"/>
                <a:gd name="T46" fmla="*/ 2313 w 2664"/>
                <a:gd name="T47" fmla="*/ 458 h 2761"/>
                <a:gd name="T48" fmla="*/ 436 w 2664"/>
                <a:gd name="T49" fmla="*/ 2395 h 2761"/>
                <a:gd name="T50" fmla="*/ 2196 w 2664"/>
                <a:gd name="T51" fmla="*/ 366 h 2761"/>
                <a:gd name="T52" fmla="*/ 378 w 2664"/>
                <a:gd name="T53" fmla="*/ 2303 h 2761"/>
                <a:gd name="T54" fmla="*/ 2196 w 2664"/>
                <a:gd name="T55" fmla="*/ 366 h 2761"/>
                <a:gd name="T56" fmla="*/ 541 w 2664"/>
                <a:gd name="T57" fmla="*/ 320 h 2761"/>
                <a:gd name="T58" fmla="*/ 281 w 2664"/>
                <a:gd name="T59" fmla="*/ 538 h 2761"/>
                <a:gd name="T60" fmla="*/ 2132 w 2664"/>
                <a:gd name="T61" fmla="*/ 286 h 2761"/>
                <a:gd name="T62" fmla="*/ 268 w 2664"/>
                <a:gd name="T63" fmla="*/ 2204 h 2761"/>
                <a:gd name="T64" fmla="*/ 1996 w 2664"/>
                <a:gd name="T65" fmla="*/ 214 h 2761"/>
                <a:gd name="T66" fmla="*/ 223 w 2664"/>
                <a:gd name="T67" fmla="*/ 2098 h 2761"/>
                <a:gd name="T68" fmla="*/ 1996 w 2664"/>
                <a:gd name="T69" fmla="*/ 214 h 2761"/>
                <a:gd name="T70" fmla="*/ 1912 w 2664"/>
                <a:gd name="T71" fmla="*/ 175 h 2761"/>
                <a:gd name="T72" fmla="*/ 138 w 2664"/>
                <a:gd name="T73" fmla="*/ 1952 h 2761"/>
                <a:gd name="T74" fmla="*/ 1789 w 2664"/>
                <a:gd name="T75" fmla="*/ 95 h 2761"/>
                <a:gd name="T76" fmla="*/ 87 w 2664"/>
                <a:gd name="T77" fmla="*/ 1854 h 2761"/>
                <a:gd name="T78" fmla="*/ 890 w 2664"/>
                <a:gd name="T79" fmla="*/ 82 h 2761"/>
                <a:gd name="T80" fmla="*/ 100 w 2664"/>
                <a:gd name="T81" fmla="*/ 955 h 2761"/>
                <a:gd name="T82" fmla="*/ 890 w 2664"/>
                <a:gd name="T83" fmla="*/ 82 h 2761"/>
                <a:gd name="T84" fmla="*/ 1653 w 2664"/>
                <a:gd name="T85" fmla="*/ 76 h 2761"/>
                <a:gd name="T86" fmla="*/ 41 w 2664"/>
                <a:gd name="T87" fmla="*/ 1688 h 2761"/>
                <a:gd name="T88" fmla="*/ 1155 w 2664"/>
                <a:gd name="T89" fmla="*/ 29 h 2761"/>
                <a:gd name="T90" fmla="*/ 22 w 2664"/>
                <a:gd name="T91" fmla="*/ 1200 h 2761"/>
                <a:gd name="T92" fmla="*/ 1478 w 2664"/>
                <a:gd name="T93" fmla="*/ 22 h 2761"/>
                <a:gd name="T94" fmla="*/ 42 w 2664"/>
                <a:gd name="T95" fmla="*/ 1563 h 2761"/>
                <a:gd name="T96" fmla="*/ 1478 w 2664"/>
                <a:gd name="T97" fmla="*/ 22 h 2761"/>
                <a:gd name="T98" fmla="*/ 1337 w 2664"/>
                <a:gd name="T99" fmla="*/ 36 h 2761"/>
                <a:gd name="T100" fmla="*/ 9 w 2664"/>
                <a:gd name="T101" fmla="*/ 1364 h 2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4" h="2761">
                  <a:moveTo>
                    <a:pt x="2357" y="2196"/>
                  </a:moveTo>
                  <a:cubicBezTo>
                    <a:pt x="2357" y="2186"/>
                    <a:pt x="2375" y="2186"/>
                    <a:pt x="2384" y="2196"/>
                  </a:cubicBezTo>
                  <a:cubicBezTo>
                    <a:pt x="2393" y="2205"/>
                    <a:pt x="2393" y="2214"/>
                    <a:pt x="2384" y="2223"/>
                  </a:cubicBezTo>
                  <a:cubicBezTo>
                    <a:pt x="2384" y="2223"/>
                    <a:pt x="2384" y="2223"/>
                    <a:pt x="2144" y="2468"/>
                  </a:cubicBezTo>
                  <a:cubicBezTo>
                    <a:pt x="2135" y="2477"/>
                    <a:pt x="2126" y="2477"/>
                    <a:pt x="2117" y="2468"/>
                  </a:cubicBezTo>
                  <a:cubicBezTo>
                    <a:pt x="2108" y="2459"/>
                    <a:pt x="2108" y="2441"/>
                    <a:pt x="2117" y="2441"/>
                  </a:cubicBezTo>
                  <a:cubicBezTo>
                    <a:pt x="2117" y="2441"/>
                    <a:pt x="2117" y="2441"/>
                    <a:pt x="2357" y="2196"/>
                  </a:cubicBezTo>
                  <a:moveTo>
                    <a:pt x="2558" y="1806"/>
                  </a:moveTo>
                  <a:cubicBezTo>
                    <a:pt x="2567" y="1797"/>
                    <a:pt x="2576" y="1797"/>
                    <a:pt x="2584" y="1806"/>
                  </a:cubicBezTo>
                  <a:cubicBezTo>
                    <a:pt x="2593" y="1815"/>
                    <a:pt x="2593" y="1824"/>
                    <a:pt x="2584" y="1833"/>
                  </a:cubicBezTo>
                  <a:cubicBezTo>
                    <a:pt x="2584" y="1833"/>
                    <a:pt x="2584" y="1833"/>
                    <a:pt x="1768" y="2679"/>
                  </a:cubicBezTo>
                  <a:cubicBezTo>
                    <a:pt x="1760" y="2689"/>
                    <a:pt x="1751" y="2689"/>
                    <a:pt x="1742" y="2679"/>
                  </a:cubicBezTo>
                  <a:cubicBezTo>
                    <a:pt x="1733" y="2670"/>
                    <a:pt x="1733" y="2661"/>
                    <a:pt x="1742" y="2652"/>
                  </a:cubicBezTo>
                  <a:cubicBezTo>
                    <a:pt x="1742" y="2652"/>
                    <a:pt x="1742" y="2652"/>
                    <a:pt x="2558" y="1806"/>
                  </a:cubicBezTo>
                  <a:moveTo>
                    <a:pt x="2610" y="1561"/>
                  </a:moveTo>
                  <a:cubicBezTo>
                    <a:pt x="2619" y="1552"/>
                    <a:pt x="2636" y="1552"/>
                    <a:pt x="2636" y="1561"/>
                  </a:cubicBezTo>
                  <a:cubicBezTo>
                    <a:pt x="2645" y="1570"/>
                    <a:pt x="2645" y="1589"/>
                    <a:pt x="2636" y="1598"/>
                  </a:cubicBezTo>
                  <a:cubicBezTo>
                    <a:pt x="2636" y="1598"/>
                    <a:pt x="2636" y="1598"/>
                    <a:pt x="1544" y="2732"/>
                  </a:cubicBezTo>
                  <a:cubicBezTo>
                    <a:pt x="1535" y="2741"/>
                    <a:pt x="1518" y="2741"/>
                    <a:pt x="1509" y="2732"/>
                  </a:cubicBezTo>
                  <a:cubicBezTo>
                    <a:pt x="1500" y="2732"/>
                    <a:pt x="1500" y="2714"/>
                    <a:pt x="1509" y="2705"/>
                  </a:cubicBezTo>
                  <a:cubicBezTo>
                    <a:pt x="1509" y="2705"/>
                    <a:pt x="1509" y="2705"/>
                    <a:pt x="2610" y="1561"/>
                  </a:cubicBezTo>
                  <a:moveTo>
                    <a:pt x="2629" y="1370"/>
                  </a:moveTo>
                  <a:cubicBezTo>
                    <a:pt x="2638" y="1361"/>
                    <a:pt x="2647" y="1361"/>
                    <a:pt x="2656" y="1370"/>
                  </a:cubicBezTo>
                  <a:cubicBezTo>
                    <a:pt x="2664" y="1379"/>
                    <a:pt x="2664" y="1388"/>
                    <a:pt x="2656" y="1397"/>
                  </a:cubicBezTo>
                  <a:cubicBezTo>
                    <a:pt x="2656" y="1397"/>
                    <a:pt x="2656" y="1397"/>
                    <a:pt x="1348" y="2752"/>
                  </a:cubicBezTo>
                  <a:cubicBezTo>
                    <a:pt x="1339" y="2761"/>
                    <a:pt x="1330" y="2761"/>
                    <a:pt x="1322" y="2752"/>
                  </a:cubicBezTo>
                  <a:cubicBezTo>
                    <a:pt x="1313" y="2743"/>
                    <a:pt x="1313" y="2734"/>
                    <a:pt x="1322" y="2725"/>
                  </a:cubicBezTo>
                  <a:cubicBezTo>
                    <a:pt x="1322" y="2725"/>
                    <a:pt x="1322" y="2725"/>
                    <a:pt x="2629" y="1370"/>
                  </a:cubicBezTo>
                  <a:moveTo>
                    <a:pt x="2623" y="1198"/>
                  </a:moveTo>
                  <a:cubicBezTo>
                    <a:pt x="2631" y="1189"/>
                    <a:pt x="2640" y="1189"/>
                    <a:pt x="2649" y="1198"/>
                  </a:cubicBezTo>
                  <a:cubicBezTo>
                    <a:pt x="2658" y="1207"/>
                    <a:pt x="2658" y="1216"/>
                    <a:pt x="2649" y="1225"/>
                  </a:cubicBezTo>
                  <a:cubicBezTo>
                    <a:pt x="2649" y="1225"/>
                    <a:pt x="2649" y="1225"/>
                    <a:pt x="1180" y="2739"/>
                  </a:cubicBezTo>
                  <a:cubicBezTo>
                    <a:pt x="1171" y="2748"/>
                    <a:pt x="1162" y="2748"/>
                    <a:pt x="1154" y="2739"/>
                  </a:cubicBezTo>
                  <a:cubicBezTo>
                    <a:pt x="1145" y="2730"/>
                    <a:pt x="1145" y="2721"/>
                    <a:pt x="1154" y="2712"/>
                  </a:cubicBezTo>
                  <a:cubicBezTo>
                    <a:pt x="1154" y="2712"/>
                    <a:pt x="1154" y="2712"/>
                    <a:pt x="2623" y="1198"/>
                  </a:cubicBezTo>
                  <a:moveTo>
                    <a:pt x="2591" y="1046"/>
                  </a:moveTo>
                  <a:cubicBezTo>
                    <a:pt x="2599" y="1037"/>
                    <a:pt x="2608" y="1037"/>
                    <a:pt x="2617" y="1046"/>
                  </a:cubicBezTo>
                  <a:cubicBezTo>
                    <a:pt x="2626" y="1055"/>
                    <a:pt x="2626" y="1064"/>
                    <a:pt x="2617" y="1073"/>
                  </a:cubicBezTo>
                  <a:cubicBezTo>
                    <a:pt x="2617" y="1073"/>
                    <a:pt x="2617" y="1073"/>
                    <a:pt x="1031" y="2713"/>
                  </a:cubicBezTo>
                  <a:cubicBezTo>
                    <a:pt x="1022" y="2722"/>
                    <a:pt x="1014" y="2722"/>
                    <a:pt x="1005" y="2713"/>
                  </a:cubicBezTo>
                  <a:cubicBezTo>
                    <a:pt x="996" y="2704"/>
                    <a:pt x="996" y="2694"/>
                    <a:pt x="1005" y="2685"/>
                  </a:cubicBezTo>
                  <a:cubicBezTo>
                    <a:pt x="1005" y="2685"/>
                    <a:pt x="1005" y="2685"/>
                    <a:pt x="2591" y="1046"/>
                  </a:cubicBezTo>
                  <a:moveTo>
                    <a:pt x="2552" y="907"/>
                  </a:moveTo>
                  <a:cubicBezTo>
                    <a:pt x="2560" y="898"/>
                    <a:pt x="2569" y="898"/>
                    <a:pt x="2578" y="907"/>
                  </a:cubicBezTo>
                  <a:cubicBezTo>
                    <a:pt x="2587" y="916"/>
                    <a:pt x="2587" y="925"/>
                    <a:pt x="2578" y="935"/>
                  </a:cubicBezTo>
                  <a:cubicBezTo>
                    <a:pt x="2578" y="935"/>
                    <a:pt x="2578" y="935"/>
                    <a:pt x="902" y="2666"/>
                  </a:cubicBezTo>
                  <a:cubicBezTo>
                    <a:pt x="893" y="2675"/>
                    <a:pt x="884" y="2675"/>
                    <a:pt x="876" y="2666"/>
                  </a:cubicBezTo>
                  <a:cubicBezTo>
                    <a:pt x="867" y="2657"/>
                    <a:pt x="867" y="2648"/>
                    <a:pt x="876" y="2639"/>
                  </a:cubicBezTo>
                  <a:cubicBezTo>
                    <a:pt x="876" y="2639"/>
                    <a:pt x="876" y="2639"/>
                    <a:pt x="2552" y="907"/>
                  </a:cubicBezTo>
                  <a:moveTo>
                    <a:pt x="2500" y="782"/>
                  </a:moveTo>
                  <a:cubicBezTo>
                    <a:pt x="2509" y="773"/>
                    <a:pt x="2517" y="773"/>
                    <a:pt x="2526" y="782"/>
                  </a:cubicBezTo>
                  <a:cubicBezTo>
                    <a:pt x="2535" y="782"/>
                    <a:pt x="2535" y="800"/>
                    <a:pt x="2526" y="809"/>
                  </a:cubicBezTo>
                  <a:cubicBezTo>
                    <a:pt x="2526" y="809"/>
                    <a:pt x="2526" y="809"/>
                    <a:pt x="779" y="2613"/>
                  </a:cubicBezTo>
                  <a:cubicBezTo>
                    <a:pt x="770" y="2623"/>
                    <a:pt x="753" y="2623"/>
                    <a:pt x="753" y="2613"/>
                  </a:cubicBezTo>
                  <a:cubicBezTo>
                    <a:pt x="744" y="2604"/>
                    <a:pt x="744" y="2595"/>
                    <a:pt x="753" y="2586"/>
                  </a:cubicBezTo>
                  <a:cubicBezTo>
                    <a:pt x="753" y="2586"/>
                    <a:pt x="753" y="2586"/>
                    <a:pt x="2500" y="782"/>
                  </a:cubicBezTo>
                  <a:moveTo>
                    <a:pt x="2435" y="663"/>
                  </a:moveTo>
                  <a:cubicBezTo>
                    <a:pt x="2444" y="654"/>
                    <a:pt x="2453" y="654"/>
                    <a:pt x="2462" y="663"/>
                  </a:cubicBezTo>
                  <a:cubicBezTo>
                    <a:pt x="2470" y="672"/>
                    <a:pt x="2470" y="681"/>
                    <a:pt x="2462" y="690"/>
                  </a:cubicBezTo>
                  <a:cubicBezTo>
                    <a:pt x="2462" y="690"/>
                    <a:pt x="2462" y="690"/>
                    <a:pt x="663" y="2547"/>
                  </a:cubicBezTo>
                  <a:cubicBezTo>
                    <a:pt x="654" y="2556"/>
                    <a:pt x="645" y="2556"/>
                    <a:pt x="636" y="2547"/>
                  </a:cubicBezTo>
                  <a:cubicBezTo>
                    <a:pt x="627" y="2538"/>
                    <a:pt x="627" y="2529"/>
                    <a:pt x="636" y="2520"/>
                  </a:cubicBezTo>
                  <a:cubicBezTo>
                    <a:pt x="636" y="2520"/>
                    <a:pt x="636" y="2520"/>
                    <a:pt x="2435" y="663"/>
                  </a:cubicBezTo>
                  <a:moveTo>
                    <a:pt x="2364" y="557"/>
                  </a:moveTo>
                  <a:cubicBezTo>
                    <a:pt x="2373" y="548"/>
                    <a:pt x="2382" y="548"/>
                    <a:pt x="2390" y="557"/>
                  </a:cubicBezTo>
                  <a:cubicBezTo>
                    <a:pt x="2399" y="566"/>
                    <a:pt x="2399" y="575"/>
                    <a:pt x="2390" y="584"/>
                  </a:cubicBezTo>
                  <a:cubicBezTo>
                    <a:pt x="2390" y="584"/>
                    <a:pt x="2390" y="584"/>
                    <a:pt x="559" y="2475"/>
                  </a:cubicBezTo>
                  <a:cubicBezTo>
                    <a:pt x="550" y="2484"/>
                    <a:pt x="542" y="2484"/>
                    <a:pt x="533" y="2475"/>
                  </a:cubicBezTo>
                  <a:cubicBezTo>
                    <a:pt x="524" y="2466"/>
                    <a:pt x="524" y="2457"/>
                    <a:pt x="533" y="2448"/>
                  </a:cubicBezTo>
                  <a:cubicBezTo>
                    <a:pt x="533" y="2448"/>
                    <a:pt x="533" y="2448"/>
                    <a:pt x="2364" y="557"/>
                  </a:cubicBezTo>
                  <a:moveTo>
                    <a:pt x="2287" y="458"/>
                  </a:moveTo>
                  <a:cubicBezTo>
                    <a:pt x="2295" y="449"/>
                    <a:pt x="2304" y="449"/>
                    <a:pt x="2313" y="458"/>
                  </a:cubicBezTo>
                  <a:cubicBezTo>
                    <a:pt x="2322" y="467"/>
                    <a:pt x="2322" y="476"/>
                    <a:pt x="2313" y="485"/>
                  </a:cubicBezTo>
                  <a:cubicBezTo>
                    <a:pt x="2313" y="485"/>
                    <a:pt x="2313" y="485"/>
                    <a:pt x="462" y="2395"/>
                  </a:cubicBezTo>
                  <a:cubicBezTo>
                    <a:pt x="453" y="2405"/>
                    <a:pt x="445" y="2405"/>
                    <a:pt x="436" y="2395"/>
                  </a:cubicBezTo>
                  <a:cubicBezTo>
                    <a:pt x="427" y="2386"/>
                    <a:pt x="427" y="2377"/>
                    <a:pt x="436" y="2368"/>
                  </a:cubicBezTo>
                  <a:cubicBezTo>
                    <a:pt x="436" y="2368"/>
                    <a:pt x="436" y="2368"/>
                    <a:pt x="2287" y="458"/>
                  </a:cubicBezTo>
                  <a:moveTo>
                    <a:pt x="2196" y="366"/>
                  </a:moveTo>
                  <a:cubicBezTo>
                    <a:pt x="2205" y="357"/>
                    <a:pt x="2214" y="357"/>
                    <a:pt x="2222" y="366"/>
                  </a:cubicBezTo>
                  <a:cubicBezTo>
                    <a:pt x="2231" y="375"/>
                    <a:pt x="2231" y="384"/>
                    <a:pt x="2222" y="393"/>
                  </a:cubicBezTo>
                  <a:cubicBezTo>
                    <a:pt x="2222" y="393"/>
                    <a:pt x="2222" y="393"/>
                    <a:pt x="378" y="2303"/>
                  </a:cubicBezTo>
                  <a:cubicBezTo>
                    <a:pt x="369" y="2312"/>
                    <a:pt x="360" y="2312"/>
                    <a:pt x="352" y="2303"/>
                  </a:cubicBezTo>
                  <a:cubicBezTo>
                    <a:pt x="343" y="2294"/>
                    <a:pt x="343" y="2285"/>
                    <a:pt x="352" y="2276"/>
                  </a:cubicBezTo>
                  <a:cubicBezTo>
                    <a:pt x="352" y="2276"/>
                    <a:pt x="352" y="2276"/>
                    <a:pt x="2196" y="366"/>
                  </a:cubicBezTo>
                  <a:moveTo>
                    <a:pt x="515" y="293"/>
                  </a:moveTo>
                  <a:cubicBezTo>
                    <a:pt x="524" y="284"/>
                    <a:pt x="533" y="284"/>
                    <a:pt x="541" y="293"/>
                  </a:cubicBezTo>
                  <a:cubicBezTo>
                    <a:pt x="550" y="302"/>
                    <a:pt x="550" y="320"/>
                    <a:pt x="541" y="320"/>
                  </a:cubicBezTo>
                  <a:cubicBezTo>
                    <a:pt x="541" y="320"/>
                    <a:pt x="541" y="320"/>
                    <a:pt x="307" y="565"/>
                  </a:cubicBezTo>
                  <a:cubicBezTo>
                    <a:pt x="307" y="575"/>
                    <a:pt x="289" y="575"/>
                    <a:pt x="281" y="565"/>
                  </a:cubicBezTo>
                  <a:cubicBezTo>
                    <a:pt x="272" y="556"/>
                    <a:pt x="272" y="547"/>
                    <a:pt x="281" y="538"/>
                  </a:cubicBezTo>
                  <a:cubicBezTo>
                    <a:pt x="281" y="538"/>
                    <a:pt x="281" y="538"/>
                    <a:pt x="515" y="293"/>
                  </a:cubicBezTo>
                  <a:moveTo>
                    <a:pt x="2105" y="286"/>
                  </a:moveTo>
                  <a:cubicBezTo>
                    <a:pt x="2114" y="277"/>
                    <a:pt x="2123" y="277"/>
                    <a:pt x="2132" y="286"/>
                  </a:cubicBezTo>
                  <a:cubicBezTo>
                    <a:pt x="2141" y="295"/>
                    <a:pt x="2141" y="304"/>
                    <a:pt x="2132" y="313"/>
                  </a:cubicBezTo>
                  <a:cubicBezTo>
                    <a:pt x="2132" y="313"/>
                    <a:pt x="2132" y="313"/>
                    <a:pt x="294" y="2204"/>
                  </a:cubicBezTo>
                  <a:cubicBezTo>
                    <a:pt x="285" y="2213"/>
                    <a:pt x="276" y="2213"/>
                    <a:pt x="268" y="2204"/>
                  </a:cubicBezTo>
                  <a:cubicBezTo>
                    <a:pt x="259" y="2195"/>
                    <a:pt x="259" y="2186"/>
                    <a:pt x="268" y="2177"/>
                  </a:cubicBezTo>
                  <a:cubicBezTo>
                    <a:pt x="268" y="2177"/>
                    <a:pt x="268" y="2177"/>
                    <a:pt x="2105" y="286"/>
                  </a:cubicBezTo>
                  <a:moveTo>
                    <a:pt x="1996" y="214"/>
                  </a:moveTo>
                  <a:cubicBezTo>
                    <a:pt x="2004" y="205"/>
                    <a:pt x="2013" y="205"/>
                    <a:pt x="2022" y="214"/>
                  </a:cubicBezTo>
                  <a:cubicBezTo>
                    <a:pt x="2031" y="223"/>
                    <a:pt x="2031" y="232"/>
                    <a:pt x="2022" y="241"/>
                  </a:cubicBezTo>
                  <a:cubicBezTo>
                    <a:pt x="2022" y="241"/>
                    <a:pt x="2022" y="241"/>
                    <a:pt x="223" y="2098"/>
                  </a:cubicBezTo>
                  <a:cubicBezTo>
                    <a:pt x="214" y="2107"/>
                    <a:pt x="205" y="2107"/>
                    <a:pt x="197" y="2098"/>
                  </a:cubicBezTo>
                  <a:cubicBezTo>
                    <a:pt x="188" y="2089"/>
                    <a:pt x="188" y="2080"/>
                    <a:pt x="197" y="2071"/>
                  </a:cubicBezTo>
                  <a:cubicBezTo>
                    <a:pt x="197" y="2071"/>
                    <a:pt x="197" y="2071"/>
                    <a:pt x="1996" y="214"/>
                  </a:cubicBezTo>
                  <a:moveTo>
                    <a:pt x="1886" y="148"/>
                  </a:moveTo>
                  <a:cubicBezTo>
                    <a:pt x="1894" y="139"/>
                    <a:pt x="1912" y="139"/>
                    <a:pt x="1912" y="148"/>
                  </a:cubicBezTo>
                  <a:cubicBezTo>
                    <a:pt x="1921" y="157"/>
                    <a:pt x="1921" y="166"/>
                    <a:pt x="1912" y="175"/>
                  </a:cubicBezTo>
                  <a:cubicBezTo>
                    <a:pt x="1912" y="175"/>
                    <a:pt x="1912" y="175"/>
                    <a:pt x="165" y="1979"/>
                  </a:cubicBezTo>
                  <a:cubicBezTo>
                    <a:pt x="156" y="1988"/>
                    <a:pt x="147" y="1988"/>
                    <a:pt x="138" y="1979"/>
                  </a:cubicBezTo>
                  <a:cubicBezTo>
                    <a:pt x="130" y="1979"/>
                    <a:pt x="130" y="1961"/>
                    <a:pt x="138" y="1952"/>
                  </a:cubicBezTo>
                  <a:cubicBezTo>
                    <a:pt x="138" y="1952"/>
                    <a:pt x="138" y="1952"/>
                    <a:pt x="1886" y="148"/>
                  </a:cubicBezTo>
                  <a:moveTo>
                    <a:pt x="1763" y="95"/>
                  </a:moveTo>
                  <a:cubicBezTo>
                    <a:pt x="1772" y="86"/>
                    <a:pt x="1780" y="86"/>
                    <a:pt x="1789" y="95"/>
                  </a:cubicBezTo>
                  <a:cubicBezTo>
                    <a:pt x="1798" y="104"/>
                    <a:pt x="1798" y="113"/>
                    <a:pt x="1789" y="122"/>
                  </a:cubicBezTo>
                  <a:cubicBezTo>
                    <a:pt x="1789" y="122"/>
                    <a:pt x="1789" y="122"/>
                    <a:pt x="113" y="1854"/>
                  </a:cubicBezTo>
                  <a:cubicBezTo>
                    <a:pt x="104" y="1863"/>
                    <a:pt x="95" y="1863"/>
                    <a:pt x="87" y="1854"/>
                  </a:cubicBezTo>
                  <a:cubicBezTo>
                    <a:pt x="78" y="1845"/>
                    <a:pt x="78" y="1836"/>
                    <a:pt x="87" y="1827"/>
                  </a:cubicBezTo>
                  <a:cubicBezTo>
                    <a:pt x="87" y="1827"/>
                    <a:pt x="87" y="1827"/>
                    <a:pt x="1763" y="95"/>
                  </a:cubicBezTo>
                  <a:moveTo>
                    <a:pt x="890" y="82"/>
                  </a:moveTo>
                  <a:cubicBezTo>
                    <a:pt x="899" y="72"/>
                    <a:pt x="907" y="72"/>
                    <a:pt x="916" y="82"/>
                  </a:cubicBezTo>
                  <a:cubicBezTo>
                    <a:pt x="925" y="91"/>
                    <a:pt x="925" y="100"/>
                    <a:pt x="916" y="109"/>
                  </a:cubicBezTo>
                  <a:cubicBezTo>
                    <a:pt x="916" y="109"/>
                    <a:pt x="916" y="109"/>
                    <a:pt x="100" y="955"/>
                  </a:cubicBezTo>
                  <a:cubicBezTo>
                    <a:pt x="91" y="964"/>
                    <a:pt x="82" y="964"/>
                    <a:pt x="74" y="955"/>
                  </a:cubicBezTo>
                  <a:cubicBezTo>
                    <a:pt x="65" y="946"/>
                    <a:pt x="65" y="937"/>
                    <a:pt x="74" y="928"/>
                  </a:cubicBezTo>
                  <a:cubicBezTo>
                    <a:pt x="74" y="928"/>
                    <a:pt x="74" y="928"/>
                    <a:pt x="890" y="82"/>
                  </a:cubicBezTo>
                  <a:moveTo>
                    <a:pt x="1627" y="48"/>
                  </a:moveTo>
                  <a:cubicBezTo>
                    <a:pt x="1636" y="39"/>
                    <a:pt x="1645" y="39"/>
                    <a:pt x="1653" y="48"/>
                  </a:cubicBezTo>
                  <a:cubicBezTo>
                    <a:pt x="1662" y="58"/>
                    <a:pt x="1662" y="67"/>
                    <a:pt x="1653" y="76"/>
                  </a:cubicBezTo>
                  <a:cubicBezTo>
                    <a:pt x="1653" y="76"/>
                    <a:pt x="1653" y="76"/>
                    <a:pt x="68" y="1715"/>
                  </a:cubicBezTo>
                  <a:cubicBezTo>
                    <a:pt x="59" y="1724"/>
                    <a:pt x="50" y="1724"/>
                    <a:pt x="41" y="1715"/>
                  </a:cubicBezTo>
                  <a:cubicBezTo>
                    <a:pt x="33" y="1706"/>
                    <a:pt x="33" y="1697"/>
                    <a:pt x="41" y="1688"/>
                  </a:cubicBezTo>
                  <a:cubicBezTo>
                    <a:pt x="41" y="1688"/>
                    <a:pt x="41" y="1688"/>
                    <a:pt x="1627" y="48"/>
                  </a:cubicBezTo>
                  <a:moveTo>
                    <a:pt x="1120" y="29"/>
                  </a:moveTo>
                  <a:cubicBezTo>
                    <a:pt x="1129" y="20"/>
                    <a:pt x="1147" y="20"/>
                    <a:pt x="1155" y="29"/>
                  </a:cubicBezTo>
                  <a:cubicBezTo>
                    <a:pt x="1164" y="29"/>
                    <a:pt x="1164" y="47"/>
                    <a:pt x="1155" y="56"/>
                  </a:cubicBezTo>
                  <a:cubicBezTo>
                    <a:pt x="1155" y="56"/>
                    <a:pt x="1155" y="56"/>
                    <a:pt x="48" y="1200"/>
                  </a:cubicBezTo>
                  <a:cubicBezTo>
                    <a:pt x="40" y="1209"/>
                    <a:pt x="22" y="1209"/>
                    <a:pt x="22" y="1200"/>
                  </a:cubicBezTo>
                  <a:cubicBezTo>
                    <a:pt x="13" y="1191"/>
                    <a:pt x="13" y="1172"/>
                    <a:pt x="22" y="1163"/>
                  </a:cubicBezTo>
                  <a:cubicBezTo>
                    <a:pt x="22" y="1163"/>
                    <a:pt x="22" y="1163"/>
                    <a:pt x="1120" y="29"/>
                  </a:cubicBezTo>
                  <a:moveTo>
                    <a:pt x="1478" y="22"/>
                  </a:moveTo>
                  <a:cubicBezTo>
                    <a:pt x="1487" y="13"/>
                    <a:pt x="1496" y="13"/>
                    <a:pt x="1505" y="22"/>
                  </a:cubicBezTo>
                  <a:cubicBezTo>
                    <a:pt x="1513" y="31"/>
                    <a:pt x="1513" y="40"/>
                    <a:pt x="1505" y="49"/>
                  </a:cubicBezTo>
                  <a:cubicBezTo>
                    <a:pt x="1505" y="49"/>
                    <a:pt x="1505" y="49"/>
                    <a:pt x="42" y="1563"/>
                  </a:cubicBezTo>
                  <a:cubicBezTo>
                    <a:pt x="33" y="1572"/>
                    <a:pt x="24" y="1572"/>
                    <a:pt x="15" y="1563"/>
                  </a:cubicBezTo>
                  <a:cubicBezTo>
                    <a:pt x="7" y="1554"/>
                    <a:pt x="7" y="1545"/>
                    <a:pt x="15" y="1536"/>
                  </a:cubicBezTo>
                  <a:cubicBezTo>
                    <a:pt x="15" y="1536"/>
                    <a:pt x="15" y="1536"/>
                    <a:pt x="1478" y="22"/>
                  </a:cubicBezTo>
                  <a:moveTo>
                    <a:pt x="1310" y="9"/>
                  </a:moveTo>
                  <a:cubicBezTo>
                    <a:pt x="1319" y="0"/>
                    <a:pt x="1328" y="0"/>
                    <a:pt x="1337" y="9"/>
                  </a:cubicBezTo>
                  <a:cubicBezTo>
                    <a:pt x="1345" y="18"/>
                    <a:pt x="1345" y="27"/>
                    <a:pt x="1337" y="36"/>
                  </a:cubicBezTo>
                  <a:cubicBezTo>
                    <a:pt x="1337" y="36"/>
                    <a:pt x="1337" y="36"/>
                    <a:pt x="35" y="1391"/>
                  </a:cubicBezTo>
                  <a:cubicBezTo>
                    <a:pt x="26" y="1400"/>
                    <a:pt x="18" y="1400"/>
                    <a:pt x="9" y="1391"/>
                  </a:cubicBezTo>
                  <a:cubicBezTo>
                    <a:pt x="0" y="1382"/>
                    <a:pt x="0" y="1373"/>
                    <a:pt x="9" y="1364"/>
                  </a:cubicBezTo>
                  <a:cubicBezTo>
                    <a:pt x="9" y="1364"/>
                    <a:pt x="9" y="1364"/>
                    <a:pt x="1310" y="9"/>
                  </a:cubicBezTo>
                </a:path>
              </a:pathLst>
            </a:custGeom>
            <a:solidFill>
              <a:srgbClr val="6CBD4B">
                <a:alpha val="52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a typeface="+mn-ea"/>
              </a:endParaRPr>
            </a:p>
          </p:txBody>
        </p:sp>
        <p:sp>
          <p:nvSpPr>
            <p:cNvPr id="63" name="Freeform: Shape 72">
              <a:extLst>
                <a:ext uri="{FF2B5EF4-FFF2-40B4-BE49-F238E27FC236}">
                  <a16:creationId xmlns:a16="http://schemas.microsoft.com/office/drawing/2014/main" id="{D4213BC6-A492-4F45-A995-49EAA634B09F}"/>
                </a:ext>
              </a:extLst>
            </p:cNvPr>
            <p:cNvSpPr>
              <a:spLocks noChangeArrowheads="1"/>
            </p:cNvSpPr>
            <p:nvPr/>
          </p:nvSpPr>
          <p:spPr bwMode="auto">
            <a:xfrm>
              <a:off x="6130406" y="1610776"/>
              <a:ext cx="631507" cy="673655"/>
            </a:xfrm>
            <a:custGeom>
              <a:avLst/>
              <a:gdLst>
                <a:gd name="connsiteX0" fmla="*/ 746212 w 769959"/>
                <a:gd name="connsiteY0" fmla="*/ 751248 h 800180"/>
                <a:gd name="connsiteX1" fmla="*/ 769959 w 769959"/>
                <a:gd name="connsiteY1" fmla="*/ 775714 h 800180"/>
                <a:gd name="connsiteX2" fmla="*/ 746212 w 769959"/>
                <a:gd name="connsiteY2" fmla="*/ 800180 h 800180"/>
                <a:gd name="connsiteX3" fmla="*/ 722465 w 769959"/>
                <a:gd name="connsiteY3" fmla="*/ 775714 h 800180"/>
                <a:gd name="connsiteX4" fmla="*/ 746212 w 769959"/>
                <a:gd name="connsiteY4" fmla="*/ 751248 h 800180"/>
                <a:gd name="connsiteX5" fmla="*/ 602294 w 769959"/>
                <a:gd name="connsiteY5" fmla="*/ 751248 h 800180"/>
                <a:gd name="connsiteX6" fmla="*/ 626041 w 769959"/>
                <a:gd name="connsiteY6" fmla="*/ 775714 h 800180"/>
                <a:gd name="connsiteX7" fmla="*/ 602294 w 769959"/>
                <a:gd name="connsiteY7" fmla="*/ 800180 h 800180"/>
                <a:gd name="connsiteX8" fmla="*/ 578547 w 769959"/>
                <a:gd name="connsiteY8" fmla="*/ 775714 h 800180"/>
                <a:gd name="connsiteX9" fmla="*/ 602294 w 769959"/>
                <a:gd name="connsiteY9" fmla="*/ 751248 h 800180"/>
                <a:gd name="connsiteX10" fmla="*/ 457656 w 769959"/>
                <a:gd name="connsiteY10" fmla="*/ 751248 h 800180"/>
                <a:gd name="connsiteX11" fmla="*/ 482122 w 769959"/>
                <a:gd name="connsiteY11" fmla="*/ 775714 h 800180"/>
                <a:gd name="connsiteX12" fmla="*/ 457656 w 769959"/>
                <a:gd name="connsiteY12" fmla="*/ 800180 h 800180"/>
                <a:gd name="connsiteX13" fmla="*/ 433190 w 769959"/>
                <a:gd name="connsiteY13" fmla="*/ 775714 h 800180"/>
                <a:gd name="connsiteX14" fmla="*/ 457656 w 769959"/>
                <a:gd name="connsiteY14" fmla="*/ 751248 h 800180"/>
                <a:gd name="connsiteX15" fmla="*/ 313020 w 769959"/>
                <a:gd name="connsiteY15" fmla="*/ 751248 h 800180"/>
                <a:gd name="connsiteX16" fmla="*/ 336767 w 769959"/>
                <a:gd name="connsiteY16" fmla="*/ 775714 h 800180"/>
                <a:gd name="connsiteX17" fmla="*/ 313020 w 769959"/>
                <a:gd name="connsiteY17" fmla="*/ 800180 h 800180"/>
                <a:gd name="connsiteX18" fmla="*/ 289273 w 769959"/>
                <a:gd name="connsiteY18" fmla="*/ 775714 h 800180"/>
                <a:gd name="connsiteX19" fmla="*/ 313020 w 769959"/>
                <a:gd name="connsiteY19" fmla="*/ 751248 h 800180"/>
                <a:gd name="connsiteX20" fmla="*/ 169103 w 769959"/>
                <a:gd name="connsiteY20" fmla="*/ 751248 h 800180"/>
                <a:gd name="connsiteX21" fmla="*/ 192850 w 769959"/>
                <a:gd name="connsiteY21" fmla="*/ 775714 h 800180"/>
                <a:gd name="connsiteX22" fmla="*/ 169103 w 769959"/>
                <a:gd name="connsiteY22" fmla="*/ 800180 h 800180"/>
                <a:gd name="connsiteX23" fmla="*/ 145356 w 769959"/>
                <a:gd name="connsiteY23" fmla="*/ 775714 h 800180"/>
                <a:gd name="connsiteX24" fmla="*/ 169103 w 769959"/>
                <a:gd name="connsiteY24" fmla="*/ 751248 h 800180"/>
                <a:gd name="connsiteX25" fmla="*/ 24466 w 769959"/>
                <a:gd name="connsiteY25" fmla="*/ 751248 h 800180"/>
                <a:gd name="connsiteX26" fmla="*/ 48932 w 769959"/>
                <a:gd name="connsiteY26" fmla="*/ 775714 h 800180"/>
                <a:gd name="connsiteX27" fmla="*/ 24466 w 769959"/>
                <a:gd name="connsiteY27" fmla="*/ 800180 h 800180"/>
                <a:gd name="connsiteX28" fmla="*/ 0 w 769959"/>
                <a:gd name="connsiteY28" fmla="*/ 775714 h 800180"/>
                <a:gd name="connsiteX29" fmla="*/ 24466 w 769959"/>
                <a:gd name="connsiteY29" fmla="*/ 751248 h 800180"/>
                <a:gd name="connsiteX30" fmla="*/ 746212 w 769959"/>
                <a:gd name="connsiteY30" fmla="*/ 601574 h 800180"/>
                <a:gd name="connsiteX31" fmla="*/ 769959 w 769959"/>
                <a:gd name="connsiteY31" fmla="*/ 626040 h 800180"/>
                <a:gd name="connsiteX32" fmla="*/ 746212 w 769959"/>
                <a:gd name="connsiteY32" fmla="*/ 650506 h 800180"/>
                <a:gd name="connsiteX33" fmla="*/ 722465 w 769959"/>
                <a:gd name="connsiteY33" fmla="*/ 626040 h 800180"/>
                <a:gd name="connsiteX34" fmla="*/ 746212 w 769959"/>
                <a:gd name="connsiteY34" fmla="*/ 601574 h 800180"/>
                <a:gd name="connsiteX35" fmla="*/ 602294 w 769959"/>
                <a:gd name="connsiteY35" fmla="*/ 601574 h 800180"/>
                <a:gd name="connsiteX36" fmla="*/ 626041 w 769959"/>
                <a:gd name="connsiteY36" fmla="*/ 626040 h 800180"/>
                <a:gd name="connsiteX37" fmla="*/ 602294 w 769959"/>
                <a:gd name="connsiteY37" fmla="*/ 650506 h 800180"/>
                <a:gd name="connsiteX38" fmla="*/ 578547 w 769959"/>
                <a:gd name="connsiteY38" fmla="*/ 626040 h 800180"/>
                <a:gd name="connsiteX39" fmla="*/ 602294 w 769959"/>
                <a:gd name="connsiteY39" fmla="*/ 601574 h 800180"/>
                <a:gd name="connsiteX40" fmla="*/ 457656 w 769959"/>
                <a:gd name="connsiteY40" fmla="*/ 601574 h 800180"/>
                <a:gd name="connsiteX41" fmla="*/ 482122 w 769959"/>
                <a:gd name="connsiteY41" fmla="*/ 626040 h 800180"/>
                <a:gd name="connsiteX42" fmla="*/ 457656 w 769959"/>
                <a:gd name="connsiteY42" fmla="*/ 650506 h 800180"/>
                <a:gd name="connsiteX43" fmla="*/ 433190 w 769959"/>
                <a:gd name="connsiteY43" fmla="*/ 626040 h 800180"/>
                <a:gd name="connsiteX44" fmla="*/ 457656 w 769959"/>
                <a:gd name="connsiteY44" fmla="*/ 601574 h 800180"/>
                <a:gd name="connsiteX45" fmla="*/ 313020 w 769959"/>
                <a:gd name="connsiteY45" fmla="*/ 601574 h 800180"/>
                <a:gd name="connsiteX46" fmla="*/ 336767 w 769959"/>
                <a:gd name="connsiteY46" fmla="*/ 626040 h 800180"/>
                <a:gd name="connsiteX47" fmla="*/ 313020 w 769959"/>
                <a:gd name="connsiteY47" fmla="*/ 650506 h 800180"/>
                <a:gd name="connsiteX48" fmla="*/ 289273 w 769959"/>
                <a:gd name="connsiteY48" fmla="*/ 626040 h 800180"/>
                <a:gd name="connsiteX49" fmla="*/ 313020 w 769959"/>
                <a:gd name="connsiteY49" fmla="*/ 601574 h 800180"/>
                <a:gd name="connsiteX50" fmla="*/ 169103 w 769959"/>
                <a:gd name="connsiteY50" fmla="*/ 601574 h 800180"/>
                <a:gd name="connsiteX51" fmla="*/ 192850 w 769959"/>
                <a:gd name="connsiteY51" fmla="*/ 626040 h 800180"/>
                <a:gd name="connsiteX52" fmla="*/ 169103 w 769959"/>
                <a:gd name="connsiteY52" fmla="*/ 650506 h 800180"/>
                <a:gd name="connsiteX53" fmla="*/ 145356 w 769959"/>
                <a:gd name="connsiteY53" fmla="*/ 626040 h 800180"/>
                <a:gd name="connsiteX54" fmla="*/ 169103 w 769959"/>
                <a:gd name="connsiteY54" fmla="*/ 601574 h 800180"/>
                <a:gd name="connsiteX55" fmla="*/ 24466 w 769959"/>
                <a:gd name="connsiteY55" fmla="*/ 601574 h 800180"/>
                <a:gd name="connsiteX56" fmla="*/ 48932 w 769959"/>
                <a:gd name="connsiteY56" fmla="*/ 626040 h 800180"/>
                <a:gd name="connsiteX57" fmla="*/ 24466 w 769959"/>
                <a:gd name="connsiteY57" fmla="*/ 650506 h 800180"/>
                <a:gd name="connsiteX58" fmla="*/ 0 w 769959"/>
                <a:gd name="connsiteY58" fmla="*/ 626040 h 800180"/>
                <a:gd name="connsiteX59" fmla="*/ 24466 w 769959"/>
                <a:gd name="connsiteY59" fmla="*/ 601574 h 800180"/>
                <a:gd name="connsiteX60" fmla="*/ 746212 w 769959"/>
                <a:gd name="connsiteY60" fmla="*/ 450461 h 800180"/>
                <a:gd name="connsiteX61" fmla="*/ 769959 w 769959"/>
                <a:gd name="connsiteY61" fmla="*/ 474927 h 800180"/>
                <a:gd name="connsiteX62" fmla="*/ 746212 w 769959"/>
                <a:gd name="connsiteY62" fmla="*/ 499393 h 800180"/>
                <a:gd name="connsiteX63" fmla="*/ 722465 w 769959"/>
                <a:gd name="connsiteY63" fmla="*/ 474927 h 800180"/>
                <a:gd name="connsiteX64" fmla="*/ 746212 w 769959"/>
                <a:gd name="connsiteY64" fmla="*/ 450461 h 800180"/>
                <a:gd name="connsiteX65" fmla="*/ 602294 w 769959"/>
                <a:gd name="connsiteY65" fmla="*/ 450461 h 800180"/>
                <a:gd name="connsiteX66" fmla="*/ 626041 w 769959"/>
                <a:gd name="connsiteY66" fmla="*/ 474927 h 800180"/>
                <a:gd name="connsiteX67" fmla="*/ 602294 w 769959"/>
                <a:gd name="connsiteY67" fmla="*/ 499393 h 800180"/>
                <a:gd name="connsiteX68" fmla="*/ 578547 w 769959"/>
                <a:gd name="connsiteY68" fmla="*/ 474927 h 800180"/>
                <a:gd name="connsiteX69" fmla="*/ 602294 w 769959"/>
                <a:gd name="connsiteY69" fmla="*/ 450461 h 800180"/>
                <a:gd name="connsiteX70" fmla="*/ 457656 w 769959"/>
                <a:gd name="connsiteY70" fmla="*/ 450461 h 800180"/>
                <a:gd name="connsiteX71" fmla="*/ 482122 w 769959"/>
                <a:gd name="connsiteY71" fmla="*/ 474927 h 800180"/>
                <a:gd name="connsiteX72" fmla="*/ 457656 w 769959"/>
                <a:gd name="connsiteY72" fmla="*/ 499393 h 800180"/>
                <a:gd name="connsiteX73" fmla="*/ 433190 w 769959"/>
                <a:gd name="connsiteY73" fmla="*/ 474927 h 800180"/>
                <a:gd name="connsiteX74" fmla="*/ 457656 w 769959"/>
                <a:gd name="connsiteY74" fmla="*/ 450461 h 800180"/>
                <a:gd name="connsiteX75" fmla="*/ 313020 w 769959"/>
                <a:gd name="connsiteY75" fmla="*/ 450461 h 800180"/>
                <a:gd name="connsiteX76" fmla="*/ 336767 w 769959"/>
                <a:gd name="connsiteY76" fmla="*/ 474927 h 800180"/>
                <a:gd name="connsiteX77" fmla="*/ 313020 w 769959"/>
                <a:gd name="connsiteY77" fmla="*/ 499393 h 800180"/>
                <a:gd name="connsiteX78" fmla="*/ 289273 w 769959"/>
                <a:gd name="connsiteY78" fmla="*/ 474927 h 800180"/>
                <a:gd name="connsiteX79" fmla="*/ 313020 w 769959"/>
                <a:gd name="connsiteY79" fmla="*/ 450461 h 800180"/>
                <a:gd name="connsiteX80" fmla="*/ 169103 w 769959"/>
                <a:gd name="connsiteY80" fmla="*/ 450461 h 800180"/>
                <a:gd name="connsiteX81" fmla="*/ 192850 w 769959"/>
                <a:gd name="connsiteY81" fmla="*/ 474927 h 800180"/>
                <a:gd name="connsiteX82" fmla="*/ 169103 w 769959"/>
                <a:gd name="connsiteY82" fmla="*/ 499393 h 800180"/>
                <a:gd name="connsiteX83" fmla="*/ 145356 w 769959"/>
                <a:gd name="connsiteY83" fmla="*/ 474927 h 800180"/>
                <a:gd name="connsiteX84" fmla="*/ 169103 w 769959"/>
                <a:gd name="connsiteY84" fmla="*/ 450461 h 800180"/>
                <a:gd name="connsiteX85" fmla="*/ 24466 w 769959"/>
                <a:gd name="connsiteY85" fmla="*/ 450461 h 800180"/>
                <a:gd name="connsiteX86" fmla="*/ 48932 w 769959"/>
                <a:gd name="connsiteY86" fmla="*/ 474927 h 800180"/>
                <a:gd name="connsiteX87" fmla="*/ 24466 w 769959"/>
                <a:gd name="connsiteY87" fmla="*/ 499393 h 800180"/>
                <a:gd name="connsiteX88" fmla="*/ 0 w 769959"/>
                <a:gd name="connsiteY88" fmla="*/ 474927 h 800180"/>
                <a:gd name="connsiteX89" fmla="*/ 24466 w 769959"/>
                <a:gd name="connsiteY89" fmla="*/ 450461 h 800180"/>
                <a:gd name="connsiteX90" fmla="*/ 746212 w 769959"/>
                <a:gd name="connsiteY90" fmla="*/ 300787 h 800180"/>
                <a:gd name="connsiteX91" fmla="*/ 769959 w 769959"/>
                <a:gd name="connsiteY91" fmla="*/ 325253 h 800180"/>
                <a:gd name="connsiteX92" fmla="*/ 746212 w 769959"/>
                <a:gd name="connsiteY92" fmla="*/ 349719 h 800180"/>
                <a:gd name="connsiteX93" fmla="*/ 722465 w 769959"/>
                <a:gd name="connsiteY93" fmla="*/ 325253 h 800180"/>
                <a:gd name="connsiteX94" fmla="*/ 746212 w 769959"/>
                <a:gd name="connsiteY94" fmla="*/ 300787 h 800180"/>
                <a:gd name="connsiteX95" fmla="*/ 602294 w 769959"/>
                <a:gd name="connsiteY95" fmla="*/ 300787 h 800180"/>
                <a:gd name="connsiteX96" fmla="*/ 626041 w 769959"/>
                <a:gd name="connsiteY96" fmla="*/ 325253 h 800180"/>
                <a:gd name="connsiteX97" fmla="*/ 602294 w 769959"/>
                <a:gd name="connsiteY97" fmla="*/ 349719 h 800180"/>
                <a:gd name="connsiteX98" fmla="*/ 578547 w 769959"/>
                <a:gd name="connsiteY98" fmla="*/ 325253 h 800180"/>
                <a:gd name="connsiteX99" fmla="*/ 602294 w 769959"/>
                <a:gd name="connsiteY99" fmla="*/ 300787 h 800180"/>
                <a:gd name="connsiteX100" fmla="*/ 457656 w 769959"/>
                <a:gd name="connsiteY100" fmla="*/ 300787 h 800180"/>
                <a:gd name="connsiteX101" fmla="*/ 482122 w 769959"/>
                <a:gd name="connsiteY101" fmla="*/ 325253 h 800180"/>
                <a:gd name="connsiteX102" fmla="*/ 457656 w 769959"/>
                <a:gd name="connsiteY102" fmla="*/ 349719 h 800180"/>
                <a:gd name="connsiteX103" fmla="*/ 433190 w 769959"/>
                <a:gd name="connsiteY103" fmla="*/ 325253 h 800180"/>
                <a:gd name="connsiteX104" fmla="*/ 457656 w 769959"/>
                <a:gd name="connsiteY104" fmla="*/ 300787 h 800180"/>
                <a:gd name="connsiteX105" fmla="*/ 313020 w 769959"/>
                <a:gd name="connsiteY105" fmla="*/ 300787 h 800180"/>
                <a:gd name="connsiteX106" fmla="*/ 336767 w 769959"/>
                <a:gd name="connsiteY106" fmla="*/ 325253 h 800180"/>
                <a:gd name="connsiteX107" fmla="*/ 313020 w 769959"/>
                <a:gd name="connsiteY107" fmla="*/ 349719 h 800180"/>
                <a:gd name="connsiteX108" fmla="*/ 289273 w 769959"/>
                <a:gd name="connsiteY108" fmla="*/ 325253 h 800180"/>
                <a:gd name="connsiteX109" fmla="*/ 313020 w 769959"/>
                <a:gd name="connsiteY109" fmla="*/ 300787 h 800180"/>
                <a:gd name="connsiteX110" fmla="*/ 169103 w 769959"/>
                <a:gd name="connsiteY110" fmla="*/ 300787 h 800180"/>
                <a:gd name="connsiteX111" fmla="*/ 192850 w 769959"/>
                <a:gd name="connsiteY111" fmla="*/ 325253 h 800180"/>
                <a:gd name="connsiteX112" fmla="*/ 169103 w 769959"/>
                <a:gd name="connsiteY112" fmla="*/ 349719 h 800180"/>
                <a:gd name="connsiteX113" fmla="*/ 145356 w 769959"/>
                <a:gd name="connsiteY113" fmla="*/ 325253 h 800180"/>
                <a:gd name="connsiteX114" fmla="*/ 169103 w 769959"/>
                <a:gd name="connsiteY114" fmla="*/ 300787 h 800180"/>
                <a:gd name="connsiteX115" fmla="*/ 24466 w 769959"/>
                <a:gd name="connsiteY115" fmla="*/ 300787 h 800180"/>
                <a:gd name="connsiteX116" fmla="*/ 48932 w 769959"/>
                <a:gd name="connsiteY116" fmla="*/ 325253 h 800180"/>
                <a:gd name="connsiteX117" fmla="*/ 24466 w 769959"/>
                <a:gd name="connsiteY117" fmla="*/ 349719 h 800180"/>
                <a:gd name="connsiteX118" fmla="*/ 0 w 769959"/>
                <a:gd name="connsiteY118" fmla="*/ 325253 h 800180"/>
                <a:gd name="connsiteX119" fmla="*/ 24466 w 769959"/>
                <a:gd name="connsiteY119" fmla="*/ 300787 h 800180"/>
                <a:gd name="connsiteX120" fmla="*/ 746212 w 769959"/>
                <a:gd name="connsiteY120" fmla="*/ 149674 h 800180"/>
                <a:gd name="connsiteX121" fmla="*/ 769959 w 769959"/>
                <a:gd name="connsiteY121" fmla="*/ 174140 h 800180"/>
                <a:gd name="connsiteX122" fmla="*/ 746212 w 769959"/>
                <a:gd name="connsiteY122" fmla="*/ 198606 h 800180"/>
                <a:gd name="connsiteX123" fmla="*/ 722465 w 769959"/>
                <a:gd name="connsiteY123" fmla="*/ 174140 h 800180"/>
                <a:gd name="connsiteX124" fmla="*/ 746212 w 769959"/>
                <a:gd name="connsiteY124" fmla="*/ 149674 h 800180"/>
                <a:gd name="connsiteX125" fmla="*/ 602294 w 769959"/>
                <a:gd name="connsiteY125" fmla="*/ 149674 h 800180"/>
                <a:gd name="connsiteX126" fmla="*/ 626041 w 769959"/>
                <a:gd name="connsiteY126" fmla="*/ 174140 h 800180"/>
                <a:gd name="connsiteX127" fmla="*/ 602294 w 769959"/>
                <a:gd name="connsiteY127" fmla="*/ 198606 h 800180"/>
                <a:gd name="connsiteX128" fmla="*/ 578547 w 769959"/>
                <a:gd name="connsiteY128" fmla="*/ 174140 h 800180"/>
                <a:gd name="connsiteX129" fmla="*/ 602294 w 769959"/>
                <a:gd name="connsiteY129" fmla="*/ 149674 h 800180"/>
                <a:gd name="connsiteX130" fmla="*/ 457656 w 769959"/>
                <a:gd name="connsiteY130" fmla="*/ 149674 h 800180"/>
                <a:gd name="connsiteX131" fmla="*/ 482122 w 769959"/>
                <a:gd name="connsiteY131" fmla="*/ 174140 h 800180"/>
                <a:gd name="connsiteX132" fmla="*/ 457656 w 769959"/>
                <a:gd name="connsiteY132" fmla="*/ 198606 h 800180"/>
                <a:gd name="connsiteX133" fmla="*/ 433190 w 769959"/>
                <a:gd name="connsiteY133" fmla="*/ 174140 h 800180"/>
                <a:gd name="connsiteX134" fmla="*/ 457656 w 769959"/>
                <a:gd name="connsiteY134" fmla="*/ 149674 h 800180"/>
                <a:gd name="connsiteX135" fmla="*/ 313020 w 769959"/>
                <a:gd name="connsiteY135" fmla="*/ 149674 h 800180"/>
                <a:gd name="connsiteX136" fmla="*/ 336767 w 769959"/>
                <a:gd name="connsiteY136" fmla="*/ 174140 h 800180"/>
                <a:gd name="connsiteX137" fmla="*/ 313020 w 769959"/>
                <a:gd name="connsiteY137" fmla="*/ 198606 h 800180"/>
                <a:gd name="connsiteX138" fmla="*/ 289273 w 769959"/>
                <a:gd name="connsiteY138" fmla="*/ 174140 h 800180"/>
                <a:gd name="connsiteX139" fmla="*/ 313020 w 769959"/>
                <a:gd name="connsiteY139" fmla="*/ 149674 h 800180"/>
                <a:gd name="connsiteX140" fmla="*/ 169103 w 769959"/>
                <a:gd name="connsiteY140" fmla="*/ 149674 h 800180"/>
                <a:gd name="connsiteX141" fmla="*/ 192850 w 769959"/>
                <a:gd name="connsiteY141" fmla="*/ 174140 h 800180"/>
                <a:gd name="connsiteX142" fmla="*/ 169103 w 769959"/>
                <a:gd name="connsiteY142" fmla="*/ 198606 h 800180"/>
                <a:gd name="connsiteX143" fmla="*/ 145356 w 769959"/>
                <a:gd name="connsiteY143" fmla="*/ 174140 h 800180"/>
                <a:gd name="connsiteX144" fmla="*/ 169103 w 769959"/>
                <a:gd name="connsiteY144" fmla="*/ 149674 h 800180"/>
                <a:gd name="connsiteX145" fmla="*/ 24466 w 769959"/>
                <a:gd name="connsiteY145" fmla="*/ 149674 h 800180"/>
                <a:gd name="connsiteX146" fmla="*/ 48932 w 769959"/>
                <a:gd name="connsiteY146" fmla="*/ 174140 h 800180"/>
                <a:gd name="connsiteX147" fmla="*/ 24466 w 769959"/>
                <a:gd name="connsiteY147" fmla="*/ 198606 h 800180"/>
                <a:gd name="connsiteX148" fmla="*/ 0 w 769959"/>
                <a:gd name="connsiteY148" fmla="*/ 174140 h 800180"/>
                <a:gd name="connsiteX149" fmla="*/ 24466 w 769959"/>
                <a:gd name="connsiteY149" fmla="*/ 149674 h 800180"/>
                <a:gd name="connsiteX150" fmla="*/ 746212 w 769959"/>
                <a:gd name="connsiteY150" fmla="*/ 0 h 800180"/>
                <a:gd name="connsiteX151" fmla="*/ 769959 w 769959"/>
                <a:gd name="connsiteY151" fmla="*/ 24466 h 800180"/>
                <a:gd name="connsiteX152" fmla="*/ 746212 w 769959"/>
                <a:gd name="connsiteY152" fmla="*/ 48932 h 800180"/>
                <a:gd name="connsiteX153" fmla="*/ 722465 w 769959"/>
                <a:gd name="connsiteY153" fmla="*/ 24466 h 800180"/>
                <a:gd name="connsiteX154" fmla="*/ 746212 w 769959"/>
                <a:gd name="connsiteY154" fmla="*/ 0 h 800180"/>
                <a:gd name="connsiteX155" fmla="*/ 602294 w 769959"/>
                <a:gd name="connsiteY155" fmla="*/ 0 h 800180"/>
                <a:gd name="connsiteX156" fmla="*/ 626041 w 769959"/>
                <a:gd name="connsiteY156" fmla="*/ 24466 h 800180"/>
                <a:gd name="connsiteX157" fmla="*/ 602294 w 769959"/>
                <a:gd name="connsiteY157" fmla="*/ 48932 h 800180"/>
                <a:gd name="connsiteX158" fmla="*/ 578547 w 769959"/>
                <a:gd name="connsiteY158" fmla="*/ 24466 h 800180"/>
                <a:gd name="connsiteX159" fmla="*/ 602294 w 769959"/>
                <a:gd name="connsiteY159" fmla="*/ 0 h 800180"/>
                <a:gd name="connsiteX160" fmla="*/ 457656 w 769959"/>
                <a:gd name="connsiteY160" fmla="*/ 0 h 800180"/>
                <a:gd name="connsiteX161" fmla="*/ 482122 w 769959"/>
                <a:gd name="connsiteY161" fmla="*/ 24466 h 800180"/>
                <a:gd name="connsiteX162" fmla="*/ 457656 w 769959"/>
                <a:gd name="connsiteY162" fmla="*/ 48932 h 800180"/>
                <a:gd name="connsiteX163" fmla="*/ 433190 w 769959"/>
                <a:gd name="connsiteY163" fmla="*/ 24466 h 800180"/>
                <a:gd name="connsiteX164" fmla="*/ 457656 w 769959"/>
                <a:gd name="connsiteY164" fmla="*/ 0 h 800180"/>
                <a:gd name="connsiteX165" fmla="*/ 313020 w 769959"/>
                <a:gd name="connsiteY165" fmla="*/ 0 h 800180"/>
                <a:gd name="connsiteX166" fmla="*/ 336767 w 769959"/>
                <a:gd name="connsiteY166" fmla="*/ 24466 h 800180"/>
                <a:gd name="connsiteX167" fmla="*/ 313020 w 769959"/>
                <a:gd name="connsiteY167" fmla="*/ 48932 h 800180"/>
                <a:gd name="connsiteX168" fmla="*/ 289273 w 769959"/>
                <a:gd name="connsiteY168" fmla="*/ 24466 h 800180"/>
                <a:gd name="connsiteX169" fmla="*/ 313020 w 769959"/>
                <a:gd name="connsiteY169" fmla="*/ 0 h 800180"/>
                <a:gd name="connsiteX170" fmla="*/ 169103 w 769959"/>
                <a:gd name="connsiteY170" fmla="*/ 0 h 800180"/>
                <a:gd name="connsiteX171" fmla="*/ 192850 w 769959"/>
                <a:gd name="connsiteY171" fmla="*/ 24466 h 800180"/>
                <a:gd name="connsiteX172" fmla="*/ 169103 w 769959"/>
                <a:gd name="connsiteY172" fmla="*/ 48932 h 800180"/>
                <a:gd name="connsiteX173" fmla="*/ 145356 w 769959"/>
                <a:gd name="connsiteY173" fmla="*/ 24466 h 800180"/>
                <a:gd name="connsiteX174" fmla="*/ 169103 w 769959"/>
                <a:gd name="connsiteY174" fmla="*/ 0 h 800180"/>
                <a:gd name="connsiteX175" fmla="*/ 24466 w 769959"/>
                <a:gd name="connsiteY175" fmla="*/ 0 h 800180"/>
                <a:gd name="connsiteX176" fmla="*/ 48932 w 769959"/>
                <a:gd name="connsiteY176" fmla="*/ 24466 h 800180"/>
                <a:gd name="connsiteX177" fmla="*/ 24466 w 769959"/>
                <a:gd name="connsiteY177" fmla="*/ 48932 h 800180"/>
                <a:gd name="connsiteX178" fmla="*/ 0 w 769959"/>
                <a:gd name="connsiteY178" fmla="*/ 24466 h 800180"/>
                <a:gd name="connsiteX179" fmla="*/ 24466 w 769959"/>
                <a:gd name="connsiteY179" fmla="*/ 0 h 80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769959" h="800180">
                  <a:moveTo>
                    <a:pt x="746212" y="751248"/>
                  </a:moveTo>
                  <a:cubicBezTo>
                    <a:pt x="759327" y="751248"/>
                    <a:pt x="769959" y="762202"/>
                    <a:pt x="769959" y="775714"/>
                  </a:cubicBezTo>
                  <a:cubicBezTo>
                    <a:pt x="769959" y="789226"/>
                    <a:pt x="759327" y="800180"/>
                    <a:pt x="746212" y="800180"/>
                  </a:cubicBezTo>
                  <a:cubicBezTo>
                    <a:pt x="733097" y="800180"/>
                    <a:pt x="722465" y="789226"/>
                    <a:pt x="722465" y="775714"/>
                  </a:cubicBezTo>
                  <a:cubicBezTo>
                    <a:pt x="722465" y="762202"/>
                    <a:pt x="733097" y="751248"/>
                    <a:pt x="746212" y="751248"/>
                  </a:cubicBezTo>
                  <a:close/>
                  <a:moveTo>
                    <a:pt x="602294" y="751248"/>
                  </a:moveTo>
                  <a:cubicBezTo>
                    <a:pt x="615409" y="751248"/>
                    <a:pt x="626041" y="762202"/>
                    <a:pt x="626041" y="775714"/>
                  </a:cubicBezTo>
                  <a:cubicBezTo>
                    <a:pt x="626041" y="789226"/>
                    <a:pt x="615409" y="800180"/>
                    <a:pt x="602294" y="800180"/>
                  </a:cubicBezTo>
                  <a:cubicBezTo>
                    <a:pt x="589179" y="800180"/>
                    <a:pt x="578547" y="789226"/>
                    <a:pt x="578547" y="775714"/>
                  </a:cubicBezTo>
                  <a:cubicBezTo>
                    <a:pt x="578547" y="762202"/>
                    <a:pt x="589179" y="751248"/>
                    <a:pt x="602294" y="751248"/>
                  </a:cubicBezTo>
                  <a:close/>
                  <a:moveTo>
                    <a:pt x="457656" y="751248"/>
                  </a:moveTo>
                  <a:cubicBezTo>
                    <a:pt x="471168" y="751248"/>
                    <a:pt x="482122" y="762202"/>
                    <a:pt x="482122" y="775714"/>
                  </a:cubicBezTo>
                  <a:cubicBezTo>
                    <a:pt x="482122" y="789226"/>
                    <a:pt x="471168" y="800180"/>
                    <a:pt x="457656" y="800180"/>
                  </a:cubicBezTo>
                  <a:cubicBezTo>
                    <a:pt x="444144" y="800180"/>
                    <a:pt x="433190" y="789226"/>
                    <a:pt x="433190" y="775714"/>
                  </a:cubicBezTo>
                  <a:cubicBezTo>
                    <a:pt x="433190" y="762202"/>
                    <a:pt x="444144" y="751248"/>
                    <a:pt x="457656" y="751248"/>
                  </a:cubicBezTo>
                  <a:close/>
                  <a:moveTo>
                    <a:pt x="313020" y="751248"/>
                  </a:moveTo>
                  <a:cubicBezTo>
                    <a:pt x="326135" y="751248"/>
                    <a:pt x="336767" y="762202"/>
                    <a:pt x="336767" y="775714"/>
                  </a:cubicBezTo>
                  <a:cubicBezTo>
                    <a:pt x="336767" y="789226"/>
                    <a:pt x="326135" y="800180"/>
                    <a:pt x="313020" y="800180"/>
                  </a:cubicBezTo>
                  <a:cubicBezTo>
                    <a:pt x="299905" y="800180"/>
                    <a:pt x="289273" y="789226"/>
                    <a:pt x="289273" y="775714"/>
                  </a:cubicBezTo>
                  <a:cubicBezTo>
                    <a:pt x="289273" y="762202"/>
                    <a:pt x="299905" y="751248"/>
                    <a:pt x="313020" y="751248"/>
                  </a:cubicBezTo>
                  <a:close/>
                  <a:moveTo>
                    <a:pt x="169103" y="751248"/>
                  </a:moveTo>
                  <a:cubicBezTo>
                    <a:pt x="182218" y="751248"/>
                    <a:pt x="192850" y="762202"/>
                    <a:pt x="192850" y="775714"/>
                  </a:cubicBezTo>
                  <a:cubicBezTo>
                    <a:pt x="192850" y="789226"/>
                    <a:pt x="182218" y="800180"/>
                    <a:pt x="169103" y="800180"/>
                  </a:cubicBezTo>
                  <a:cubicBezTo>
                    <a:pt x="155988" y="800180"/>
                    <a:pt x="145356" y="789226"/>
                    <a:pt x="145356" y="775714"/>
                  </a:cubicBezTo>
                  <a:cubicBezTo>
                    <a:pt x="145356" y="762202"/>
                    <a:pt x="155988" y="751248"/>
                    <a:pt x="169103" y="751248"/>
                  </a:cubicBezTo>
                  <a:close/>
                  <a:moveTo>
                    <a:pt x="24466" y="751248"/>
                  </a:moveTo>
                  <a:cubicBezTo>
                    <a:pt x="37978" y="751248"/>
                    <a:pt x="48932" y="762202"/>
                    <a:pt x="48932" y="775714"/>
                  </a:cubicBezTo>
                  <a:cubicBezTo>
                    <a:pt x="48932" y="789226"/>
                    <a:pt x="37978" y="800180"/>
                    <a:pt x="24466" y="800180"/>
                  </a:cubicBezTo>
                  <a:cubicBezTo>
                    <a:pt x="10954" y="800180"/>
                    <a:pt x="0" y="789226"/>
                    <a:pt x="0" y="775714"/>
                  </a:cubicBezTo>
                  <a:cubicBezTo>
                    <a:pt x="0" y="762202"/>
                    <a:pt x="10954" y="751248"/>
                    <a:pt x="24466" y="751248"/>
                  </a:cubicBezTo>
                  <a:close/>
                  <a:moveTo>
                    <a:pt x="746212" y="601574"/>
                  </a:moveTo>
                  <a:cubicBezTo>
                    <a:pt x="759327" y="601574"/>
                    <a:pt x="769959" y="612528"/>
                    <a:pt x="769959" y="626040"/>
                  </a:cubicBezTo>
                  <a:cubicBezTo>
                    <a:pt x="769959" y="639552"/>
                    <a:pt x="759327" y="650506"/>
                    <a:pt x="746212" y="650506"/>
                  </a:cubicBezTo>
                  <a:cubicBezTo>
                    <a:pt x="733097" y="650506"/>
                    <a:pt x="722465" y="639552"/>
                    <a:pt x="722465" y="626040"/>
                  </a:cubicBezTo>
                  <a:cubicBezTo>
                    <a:pt x="722465" y="612528"/>
                    <a:pt x="733097" y="601574"/>
                    <a:pt x="746212" y="601574"/>
                  </a:cubicBezTo>
                  <a:close/>
                  <a:moveTo>
                    <a:pt x="602294" y="601574"/>
                  </a:moveTo>
                  <a:cubicBezTo>
                    <a:pt x="615409" y="601574"/>
                    <a:pt x="626041" y="612528"/>
                    <a:pt x="626041" y="626040"/>
                  </a:cubicBezTo>
                  <a:cubicBezTo>
                    <a:pt x="626041" y="639552"/>
                    <a:pt x="615409" y="650506"/>
                    <a:pt x="602294" y="650506"/>
                  </a:cubicBezTo>
                  <a:cubicBezTo>
                    <a:pt x="589179" y="650506"/>
                    <a:pt x="578547" y="639552"/>
                    <a:pt x="578547" y="626040"/>
                  </a:cubicBezTo>
                  <a:cubicBezTo>
                    <a:pt x="578547" y="612528"/>
                    <a:pt x="589179" y="601574"/>
                    <a:pt x="602294" y="601574"/>
                  </a:cubicBezTo>
                  <a:close/>
                  <a:moveTo>
                    <a:pt x="457656" y="601574"/>
                  </a:moveTo>
                  <a:cubicBezTo>
                    <a:pt x="471168" y="601574"/>
                    <a:pt x="482122" y="612528"/>
                    <a:pt x="482122" y="626040"/>
                  </a:cubicBezTo>
                  <a:cubicBezTo>
                    <a:pt x="482122" y="639552"/>
                    <a:pt x="471168" y="650506"/>
                    <a:pt x="457656" y="650506"/>
                  </a:cubicBezTo>
                  <a:cubicBezTo>
                    <a:pt x="444144" y="650506"/>
                    <a:pt x="433190" y="639552"/>
                    <a:pt x="433190" y="626040"/>
                  </a:cubicBezTo>
                  <a:cubicBezTo>
                    <a:pt x="433190" y="612528"/>
                    <a:pt x="444144" y="601574"/>
                    <a:pt x="457656" y="601574"/>
                  </a:cubicBezTo>
                  <a:close/>
                  <a:moveTo>
                    <a:pt x="313020" y="601574"/>
                  </a:moveTo>
                  <a:cubicBezTo>
                    <a:pt x="326135" y="601574"/>
                    <a:pt x="336767" y="612528"/>
                    <a:pt x="336767" y="626040"/>
                  </a:cubicBezTo>
                  <a:cubicBezTo>
                    <a:pt x="336767" y="639552"/>
                    <a:pt x="326135" y="650506"/>
                    <a:pt x="313020" y="650506"/>
                  </a:cubicBezTo>
                  <a:cubicBezTo>
                    <a:pt x="299905" y="650506"/>
                    <a:pt x="289273" y="639552"/>
                    <a:pt x="289273" y="626040"/>
                  </a:cubicBezTo>
                  <a:cubicBezTo>
                    <a:pt x="289273" y="612528"/>
                    <a:pt x="299905" y="601574"/>
                    <a:pt x="313020" y="601574"/>
                  </a:cubicBezTo>
                  <a:close/>
                  <a:moveTo>
                    <a:pt x="169103" y="601574"/>
                  </a:moveTo>
                  <a:cubicBezTo>
                    <a:pt x="182218" y="601574"/>
                    <a:pt x="192850" y="612528"/>
                    <a:pt x="192850" y="626040"/>
                  </a:cubicBezTo>
                  <a:cubicBezTo>
                    <a:pt x="192850" y="639552"/>
                    <a:pt x="182218" y="650506"/>
                    <a:pt x="169103" y="650506"/>
                  </a:cubicBezTo>
                  <a:cubicBezTo>
                    <a:pt x="155988" y="650506"/>
                    <a:pt x="145356" y="639552"/>
                    <a:pt x="145356" y="626040"/>
                  </a:cubicBezTo>
                  <a:cubicBezTo>
                    <a:pt x="145356" y="612528"/>
                    <a:pt x="155988" y="601574"/>
                    <a:pt x="169103" y="601574"/>
                  </a:cubicBezTo>
                  <a:close/>
                  <a:moveTo>
                    <a:pt x="24466" y="601574"/>
                  </a:moveTo>
                  <a:cubicBezTo>
                    <a:pt x="37978" y="601574"/>
                    <a:pt x="48932" y="612528"/>
                    <a:pt x="48932" y="626040"/>
                  </a:cubicBezTo>
                  <a:cubicBezTo>
                    <a:pt x="48932" y="639552"/>
                    <a:pt x="37978" y="650506"/>
                    <a:pt x="24466" y="650506"/>
                  </a:cubicBezTo>
                  <a:cubicBezTo>
                    <a:pt x="10954" y="650506"/>
                    <a:pt x="0" y="639552"/>
                    <a:pt x="0" y="626040"/>
                  </a:cubicBezTo>
                  <a:cubicBezTo>
                    <a:pt x="0" y="612528"/>
                    <a:pt x="10954" y="601574"/>
                    <a:pt x="24466" y="601574"/>
                  </a:cubicBezTo>
                  <a:close/>
                  <a:moveTo>
                    <a:pt x="746212" y="450461"/>
                  </a:moveTo>
                  <a:cubicBezTo>
                    <a:pt x="759327" y="450461"/>
                    <a:pt x="769959" y="461415"/>
                    <a:pt x="769959" y="474927"/>
                  </a:cubicBezTo>
                  <a:cubicBezTo>
                    <a:pt x="769959" y="488439"/>
                    <a:pt x="759327" y="499393"/>
                    <a:pt x="746212" y="499393"/>
                  </a:cubicBezTo>
                  <a:cubicBezTo>
                    <a:pt x="733097" y="499393"/>
                    <a:pt x="722465" y="488439"/>
                    <a:pt x="722465" y="474927"/>
                  </a:cubicBezTo>
                  <a:cubicBezTo>
                    <a:pt x="722465" y="461415"/>
                    <a:pt x="733097" y="450461"/>
                    <a:pt x="746212" y="450461"/>
                  </a:cubicBezTo>
                  <a:close/>
                  <a:moveTo>
                    <a:pt x="602294" y="450461"/>
                  </a:moveTo>
                  <a:cubicBezTo>
                    <a:pt x="615409" y="450461"/>
                    <a:pt x="626041" y="461415"/>
                    <a:pt x="626041" y="474927"/>
                  </a:cubicBezTo>
                  <a:cubicBezTo>
                    <a:pt x="626041" y="488439"/>
                    <a:pt x="615409" y="499393"/>
                    <a:pt x="602294" y="499393"/>
                  </a:cubicBezTo>
                  <a:cubicBezTo>
                    <a:pt x="589179" y="499393"/>
                    <a:pt x="578547" y="488439"/>
                    <a:pt x="578547" y="474927"/>
                  </a:cubicBezTo>
                  <a:cubicBezTo>
                    <a:pt x="578547" y="461415"/>
                    <a:pt x="589179" y="450461"/>
                    <a:pt x="602294" y="450461"/>
                  </a:cubicBezTo>
                  <a:close/>
                  <a:moveTo>
                    <a:pt x="457656" y="450461"/>
                  </a:moveTo>
                  <a:cubicBezTo>
                    <a:pt x="471168" y="450461"/>
                    <a:pt x="482122" y="461415"/>
                    <a:pt x="482122" y="474927"/>
                  </a:cubicBezTo>
                  <a:cubicBezTo>
                    <a:pt x="482122" y="488439"/>
                    <a:pt x="471168" y="499393"/>
                    <a:pt x="457656" y="499393"/>
                  </a:cubicBezTo>
                  <a:cubicBezTo>
                    <a:pt x="444144" y="499393"/>
                    <a:pt x="433190" y="488439"/>
                    <a:pt x="433190" y="474927"/>
                  </a:cubicBezTo>
                  <a:cubicBezTo>
                    <a:pt x="433190" y="461415"/>
                    <a:pt x="444144" y="450461"/>
                    <a:pt x="457656" y="450461"/>
                  </a:cubicBezTo>
                  <a:close/>
                  <a:moveTo>
                    <a:pt x="313020" y="450461"/>
                  </a:moveTo>
                  <a:cubicBezTo>
                    <a:pt x="326135" y="450461"/>
                    <a:pt x="336767" y="461415"/>
                    <a:pt x="336767" y="474927"/>
                  </a:cubicBezTo>
                  <a:cubicBezTo>
                    <a:pt x="336767" y="488439"/>
                    <a:pt x="326135" y="499393"/>
                    <a:pt x="313020" y="499393"/>
                  </a:cubicBezTo>
                  <a:cubicBezTo>
                    <a:pt x="299905" y="499393"/>
                    <a:pt x="289273" y="488439"/>
                    <a:pt x="289273" y="474927"/>
                  </a:cubicBezTo>
                  <a:cubicBezTo>
                    <a:pt x="289273" y="461415"/>
                    <a:pt x="299905" y="450461"/>
                    <a:pt x="313020" y="450461"/>
                  </a:cubicBezTo>
                  <a:close/>
                  <a:moveTo>
                    <a:pt x="169103" y="450461"/>
                  </a:moveTo>
                  <a:cubicBezTo>
                    <a:pt x="182218" y="450461"/>
                    <a:pt x="192850" y="461415"/>
                    <a:pt x="192850" y="474927"/>
                  </a:cubicBezTo>
                  <a:cubicBezTo>
                    <a:pt x="192850" y="488439"/>
                    <a:pt x="182218" y="499393"/>
                    <a:pt x="169103" y="499393"/>
                  </a:cubicBezTo>
                  <a:cubicBezTo>
                    <a:pt x="155988" y="499393"/>
                    <a:pt x="145356" y="488439"/>
                    <a:pt x="145356" y="474927"/>
                  </a:cubicBezTo>
                  <a:cubicBezTo>
                    <a:pt x="145356" y="461415"/>
                    <a:pt x="155988" y="450461"/>
                    <a:pt x="169103" y="450461"/>
                  </a:cubicBezTo>
                  <a:close/>
                  <a:moveTo>
                    <a:pt x="24466" y="450461"/>
                  </a:moveTo>
                  <a:cubicBezTo>
                    <a:pt x="37978" y="450461"/>
                    <a:pt x="48932" y="461415"/>
                    <a:pt x="48932" y="474927"/>
                  </a:cubicBezTo>
                  <a:cubicBezTo>
                    <a:pt x="48932" y="488439"/>
                    <a:pt x="37978" y="499393"/>
                    <a:pt x="24466" y="499393"/>
                  </a:cubicBezTo>
                  <a:cubicBezTo>
                    <a:pt x="10954" y="499393"/>
                    <a:pt x="0" y="488439"/>
                    <a:pt x="0" y="474927"/>
                  </a:cubicBezTo>
                  <a:cubicBezTo>
                    <a:pt x="0" y="461415"/>
                    <a:pt x="10954" y="450461"/>
                    <a:pt x="24466" y="450461"/>
                  </a:cubicBezTo>
                  <a:close/>
                  <a:moveTo>
                    <a:pt x="746212" y="300787"/>
                  </a:moveTo>
                  <a:cubicBezTo>
                    <a:pt x="759327" y="300787"/>
                    <a:pt x="769959" y="311741"/>
                    <a:pt x="769959" y="325253"/>
                  </a:cubicBezTo>
                  <a:cubicBezTo>
                    <a:pt x="769959" y="338765"/>
                    <a:pt x="759327" y="349719"/>
                    <a:pt x="746212" y="349719"/>
                  </a:cubicBezTo>
                  <a:cubicBezTo>
                    <a:pt x="733097" y="349719"/>
                    <a:pt x="722465" y="338765"/>
                    <a:pt x="722465" y="325253"/>
                  </a:cubicBezTo>
                  <a:cubicBezTo>
                    <a:pt x="722465" y="311741"/>
                    <a:pt x="733097" y="300787"/>
                    <a:pt x="746212" y="300787"/>
                  </a:cubicBezTo>
                  <a:close/>
                  <a:moveTo>
                    <a:pt x="602294" y="300787"/>
                  </a:moveTo>
                  <a:cubicBezTo>
                    <a:pt x="615409" y="300787"/>
                    <a:pt x="626041" y="311741"/>
                    <a:pt x="626041" y="325253"/>
                  </a:cubicBezTo>
                  <a:cubicBezTo>
                    <a:pt x="626041" y="338765"/>
                    <a:pt x="615409" y="349719"/>
                    <a:pt x="602294" y="349719"/>
                  </a:cubicBezTo>
                  <a:cubicBezTo>
                    <a:pt x="589179" y="349719"/>
                    <a:pt x="578547" y="338765"/>
                    <a:pt x="578547" y="325253"/>
                  </a:cubicBezTo>
                  <a:cubicBezTo>
                    <a:pt x="578547" y="311741"/>
                    <a:pt x="589179" y="300787"/>
                    <a:pt x="602294" y="300787"/>
                  </a:cubicBezTo>
                  <a:close/>
                  <a:moveTo>
                    <a:pt x="457656" y="300787"/>
                  </a:moveTo>
                  <a:cubicBezTo>
                    <a:pt x="471168" y="300787"/>
                    <a:pt x="482122" y="311741"/>
                    <a:pt x="482122" y="325253"/>
                  </a:cubicBezTo>
                  <a:cubicBezTo>
                    <a:pt x="482122" y="338765"/>
                    <a:pt x="471168" y="349719"/>
                    <a:pt x="457656" y="349719"/>
                  </a:cubicBezTo>
                  <a:cubicBezTo>
                    <a:pt x="444144" y="349719"/>
                    <a:pt x="433190" y="338765"/>
                    <a:pt x="433190" y="325253"/>
                  </a:cubicBezTo>
                  <a:cubicBezTo>
                    <a:pt x="433190" y="311741"/>
                    <a:pt x="444144" y="300787"/>
                    <a:pt x="457656" y="300787"/>
                  </a:cubicBezTo>
                  <a:close/>
                  <a:moveTo>
                    <a:pt x="313020" y="300787"/>
                  </a:moveTo>
                  <a:cubicBezTo>
                    <a:pt x="326135" y="300787"/>
                    <a:pt x="336767" y="311741"/>
                    <a:pt x="336767" y="325253"/>
                  </a:cubicBezTo>
                  <a:cubicBezTo>
                    <a:pt x="336767" y="338765"/>
                    <a:pt x="326135" y="349719"/>
                    <a:pt x="313020" y="349719"/>
                  </a:cubicBezTo>
                  <a:cubicBezTo>
                    <a:pt x="299905" y="349719"/>
                    <a:pt x="289273" y="338765"/>
                    <a:pt x="289273" y="325253"/>
                  </a:cubicBezTo>
                  <a:cubicBezTo>
                    <a:pt x="289273" y="311741"/>
                    <a:pt x="299905" y="300787"/>
                    <a:pt x="313020" y="300787"/>
                  </a:cubicBezTo>
                  <a:close/>
                  <a:moveTo>
                    <a:pt x="169103" y="300787"/>
                  </a:moveTo>
                  <a:cubicBezTo>
                    <a:pt x="182218" y="300787"/>
                    <a:pt x="192850" y="311741"/>
                    <a:pt x="192850" y="325253"/>
                  </a:cubicBezTo>
                  <a:cubicBezTo>
                    <a:pt x="192850" y="338765"/>
                    <a:pt x="182218" y="349719"/>
                    <a:pt x="169103" y="349719"/>
                  </a:cubicBezTo>
                  <a:cubicBezTo>
                    <a:pt x="155988" y="349719"/>
                    <a:pt x="145356" y="338765"/>
                    <a:pt x="145356" y="325253"/>
                  </a:cubicBezTo>
                  <a:cubicBezTo>
                    <a:pt x="145356" y="311741"/>
                    <a:pt x="155988" y="300787"/>
                    <a:pt x="169103" y="300787"/>
                  </a:cubicBezTo>
                  <a:close/>
                  <a:moveTo>
                    <a:pt x="24466" y="300787"/>
                  </a:moveTo>
                  <a:cubicBezTo>
                    <a:pt x="37978" y="300787"/>
                    <a:pt x="48932" y="311741"/>
                    <a:pt x="48932" y="325253"/>
                  </a:cubicBezTo>
                  <a:cubicBezTo>
                    <a:pt x="48932" y="338765"/>
                    <a:pt x="37978" y="349719"/>
                    <a:pt x="24466" y="349719"/>
                  </a:cubicBezTo>
                  <a:cubicBezTo>
                    <a:pt x="10954" y="349719"/>
                    <a:pt x="0" y="338765"/>
                    <a:pt x="0" y="325253"/>
                  </a:cubicBezTo>
                  <a:cubicBezTo>
                    <a:pt x="0" y="311741"/>
                    <a:pt x="10954" y="300787"/>
                    <a:pt x="24466" y="300787"/>
                  </a:cubicBezTo>
                  <a:close/>
                  <a:moveTo>
                    <a:pt x="746212" y="149674"/>
                  </a:moveTo>
                  <a:cubicBezTo>
                    <a:pt x="759327" y="149674"/>
                    <a:pt x="769959" y="160628"/>
                    <a:pt x="769959" y="174140"/>
                  </a:cubicBezTo>
                  <a:cubicBezTo>
                    <a:pt x="769959" y="187652"/>
                    <a:pt x="759327" y="198606"/>
                    <a:pt x="746212" y="198606"/>
                  </a:cubicBezTo>
                  <a:cubicBezTo>
                    <a:pt x="733097" y="198606"/>
                    <a:pt x="722465" y="187652"/>
                    <a:pt x="722465" y="174140"/>
                  </a:cubicBezTo>
                  <a:cubicBezTo>
                    <a:pt x="722465" y="160628"/>
                    <a:pt x="733097" y="149674"/>
                    <a:pt x="746212" y="149674"/>
                  </a:cubicBezTo>
                  <a:close/>
                  <a:moveTo>
                    <a:pt x="602294" y="149674"/>
                  </a:moveTo>
                  <a:cubicBezTo>
                    <a:pt x="615409" y="149674"/>
                    <a:pt x="626041" y="160628"/>
                    <a:pt x="626041" y="174140"/>
                  </a:cubicBezTo>
                  <a:cubicBezTo>
                    <a:pt x="626041" y="187652"/>
                    <a:pt x="615409" y="198606"/>
                    <a:pt x="602294" y="198606"/>
                  </a:cubicBezTo>
                  <a:cubicBezTo>
                    <a:pt x="589179" y="198606"/>
                    <a:pt x="578547" y="187652"/>
                    <a:pt x="578547" y="174140"/>
                  </a:cubicBezTo>
                  <a:cubicBezTo>
                    <a:pt x="578547" y="160628"/>
                    <a:pt x="589179" y="149674"/>
                    <a:pt x="602294" y="149674"/>
                  </a:cubicBezTo>
                  <a:close/>
                  <a:moveTo>
                    <a:pt x="457656" y="149674"/>
                  </a:moveTo>
                  <a:cubicBezTo>
                    <a:pt x="471168" y="149674"/>
                    <a:pt x="482122" y="160628"/>
                    <a:pt x="482122" y="174140"/>
                  </a:cubicBezTo>
                  <a:cubicBezTo>
                    <a:pt x="482122" y="187652"/>
                    <a:pt x="471168" y="198606"/>
                    <a:pt x="457656" y="198606"/>
                  </a:cubicBezTo>
                  <a:cubicBezTo>
                    <a:pt x="444144" y="198606"/>
                    <a:pt x="433190" y="187652"/>
                    <a:pt x="433190" y="174140"/>
                  </a:cubicBezTo>
                  <a:cubicBezTo>
                    <a:pt x="433190" y="160628"/>
                    <a:pt x="444144" y="149674"/>
                    <a:pt x="457656" y="149674"/>
                  </a:cubicBezTo>
                  <a:close/>
                  <a:moveTo>
                    <a:pt x="313020" y="149674"/>
                  </a:moveTo>
                  <a:cubicBezTo>
                    <a:pt x="326135" y="149674"/>
                    <a:pt x="336767" y="160628"/>
                    <a:pt x="336767" y="174140"/>
                  </a:cubicBezTo>
                  <a:cubicBezTo>
                    <a:pt x="336767" y="187652"/>
                    <a:pt x="326135" y="198606"/>
                    <a:pt x="313020" y="198606"/>
                  </a:cubicBezTo>
                  <a:cubicBezTo>
                    <a:pt x="299905" y="198606"/>
                    <a:pt x="289273" y="187652"/>
                    <a:pt x="289273" y="174140"/>
                  </a:cubicBezTo>
                  <a:cubicBezTo>
                    <a:pt x="289273" y="160628"/>
                    <a:pt x="299905" y="149674"/>
                    <a:pt x="313020" y="149674"/>
                  </a:cubicBezTo>
                  <a:close/>
                  <a:moveTo>
                    <a:pt x="169103" y="149674"/>
                  </a:moveTo>
                  <a:cubicBezTo>
                    <a:pt x="182218" y="149674"/>
                    <a:pt x="192850" y="160628"/>
                    <a:pt x="192850" y="174140"/>
                  </a:cubicBezTo>
                  <a:cubicBezTo>
                    <a:pt x="192850" y="187652"/>
                    <a:pt x="182218" y="198606"/>
                    <a:pt x="169103" y="198606"/>
                  </a:cubicBezTo>
                  <a:cubicBezTo>
                    <a:pt x="155988" y="198606"/>
                    <a:pt x="145356" y="187652"/>
                    <a:pt x="145356" y="174140"/>
                  </a:cubicBezTo>
                  <a:cubicBezTo>
                    <a:pt x="145356" y="160628"/>
                    <a:pt x="155988" y="149674"/>
                    <a:pt x="169103" y="149674"/>
                  </a:cubicBezTo>
                  <a:close/>
                  <a:moveTo>
                    <a:pt x="24466" y="149674"/>
                  </a:moveTo>
                  <a:cubicBezTo>
                    <a:pt x="37978" y="149674"/>
                    <a:pt x="48932" y="160628"/>
                    <a:pt x="48932" y="174140"/>
                  </a:cubicBezTo>
                  <a:cubicBezTo>
                    <a:pt x="48932" y="187652"/>
                    <a:pt x="37978" y="198606"/>
                    <a:pt x="24466" y="198606"/>
                  </a:cubicBezTo>
                  <a:cubicBezTo>
                    <a:pt x="10954" y="198606"/>
                    <a:pt x="0" y="187652"/>
                    <a:pt x="0" y="174140"/>
                  </a:cubicBezTo>
                  <a:cubicBezTo>
                    <a:pt x="0" y="160628"/>
                    <a:pt x="10954" y="149674"/>
                    <a:pt x="24466" y="149674"/>
                  </a:cubicBezTo>
                  <a:close/>
                  <a:moveTo>
                    <a:pt x="746212" y="0"/>
                  </a:moveTo>
                  <a:cubicBezTo>
                    <a:pt x="759327" y="0"/>
                    <a:pt x="769959" y="10954"/>
                    <a:pt x="769959" y="24466"/>
                  </a:cubicBezTo>
                  <a:cubicBezTo>
                    <a:pt x="769959" y="37978"/>
                    <a:pt x="759327" y="48932"/>
                    <a:pt x="746212" y="48932"/>
                  </a:cubicBezTo>
                  <a:cubicBezTo>
                    <a:pt x="733097" y="48932"/>
                    <a:pt x="722465" y="37978"/>
                    <a:pt x="722465" y="24466"/>
                  </a:cubicBezTo>
                  <a:cubicBezTo>
                    <a:pt x="722465" y="10954"/>
                    <a:pt x="733097" y="0"/>
                    <a:pt x="746212" y="0"/>
                  </a:cubicBezTo>
                  <a:close/>
                  <a:moveTo>
                    <a:pt x="602294" y="0"/>
                  </a:moveTo>
                  <a:cubicBezTo>
                    <a:pt x="615409" y="0"/>
                    <a:pt x="626041" y="10954"/>
                    <a:pt x="626041" y="24466"/>
                  </a:cubicBezTo>
                  <a:cubicBezTo>
                    <a:pt x="626041" y="37978"/>
                    <a:pt x="615409" y="48932"/>
                    <a:pt x="602294" y="48932"/>
                  </a:cubicBezTo>
                  <a:cubicBezTo>
                    <a:pt x="589179" y="48932"/>
                    <a:pt x="578547" y="37978"/>
                    <a:pt x="578547" y="24466"/>
                  </a:cubicBezTo>
                  <a:cubicBezTo>
                    <a:pt x="578547" y="10954"/>
                    <a:pt x="589179" y="0"/>
                    <a:pt x="602294" y="0"/>
                  </a:cubicBezTo>
                  <a:close/>
                  <a:moveTo>
                    <a:pt x="457656" y="0"/>
                  </a:moveTo>
                  <a:cubicBezTo>
                    <a:pt x="471168" y="0"/>
                    <a:pt x="482122" y="10954"/>
                    <a:pt x="482122" y="24466"/>
                  </a:cubicBezTo>
                  <a:cubicBezTo>
                    <a:pt x="482122" y="37978"/>
                    <a:pt x="471168" y="48932"/>
                    <a:pt x="457656" y="48932"/>
                  </a:cubicBezTo>
                  <a:cubicBezTo>
                    <a:pt x="444144" y="48932"/>
                    <a:pt x="433190" y="37978"/>
                    <a:pt x="433190" y="24466"/>
                  </a:cubicBezTo>
                  <a:cubicBezTo>
                    <a:pt x="433190" y="10954"/>
                    <a:pt x="444144" y="0"/>
                    <a:pt x="457656" y="0"/>
                  </a:cubicBezTo>
                  <a:close/>
                  <a:moveTo>
                    <a:pt x="313020" y="0"/>
                  </a:moveTo>
                  <a:cubicBezTo>
                    <a:pt x="326135" y="0"/>
                    <a:pt x="336767" y="10954"/>
                    <a:pt x="336767" y="24466"/>
                  </a:cubicBezTo>
                  <a:cubicBezTo>
                    <a:pt x="336767" y="37978"/>
                    <a:pt x="326135" y="48932"/>
                    <a:pt x="313020" y="48932"/>
                  </a:cubicBezTo>
                  <a:cubicBezTo>
                    <a:pt x="299905" y="48932"/>
                    <a:pt x="289273" y="37978"/>
                    <a:pt x="289273" y="24466"/>
                  </a:cubicBezTo>
                  <a:cubicBezTo>
                    <a:pt x="289273" y="10954"/>
                    <a:pt x="299905" y="0"/>
                    <a:pt x="313020" y="0"/>
                  </a:cubicBezTo>
                  <a:close/>
                  <a:moveTo>
                    <a:pt x="169103" y="0"/>
                  </a:moveTo>
                  <a:cubicBezTo>
                    <a:pt x="182218" y="0"/>
                    <a:pt x="192850" y="10954"/>
                    <a:pt x="192850" y="24466"/>
                  </a:cubicBezTo>
                  <a:cubicBezTo>
                    <a:pt x="192850" y="37978"/>
                    <a:pt x="182218" y="48932"/>
                    <a:pt x="169103" y="48932"/>
                  </a:cubicBezTo>
                  <a:cubicBezTo>
                    <a:pt x="155988" y="48932"/>
                    <a:pt x="145356" y="37978"/>
                    <a:pt x="145356" y="24466"/>
                  </a:cubicBezTo>
                  <a:cubicBezTo>
                    <a:pt x="145356" y="10954"/>
                    <a:pt x="155988" y="0"/>
                    <a:pt x="169103" y="0"/>
                  </a:cubicBezTo>
                  <a:close/>
                  <a:moveTo>
                    <a:pt x="24466" y="0"/>
                  </a:moveTo>
                  <a:cubicBezTo>
                    <a:pt x="37978" y="0"/>
                    <a:pt x="48932" y="10954"/>
                    <a:pt x="48932" y="24466"/>
                  </a:cubicBezTo>
                  <a:cubicBezTo>
                    <a:pt x="48932" y="37978"/>
                    <a:pt x="37978" y="48932"/>
                    <a:pt x="24466" y="48932"/>
                  </a:cubicBezTo>
                  <a:cubicBezTo>
                    <a:pt x="10954" y="48932"/>
                    <a:pt x="0" y="37978"/>
                    <a:pt x="0" y="24466"/>
                  </a:cubicBezTo>
                  <a:cubicBezTo>
                    <a:pt x="0" y="10954"/>
                    <a:pt x="10954" y="0"/>
                    <a:pt x="24466" y="0"/>
                  </a:cubicBezTo>
                  <a:close/>
                </a:path>
              </a:pathLst>
            </a:custGeom>
            <a:solidFill>
              <a:srgbClr val="00BCEC">
                <a:alpha val="46000"/>
              </a:srgbClr>
            </a:solidFill>
            <a:ln>
              <a:noFill/>
            </a:ln>
          </p:spPr>
          <p:txBody>
            <a:bodyPr vert="horz" wrap="square" lIns="91440" tIns="45720" rIns="91440" bIns="45720" numCol="1" anchor="t" anchorCtr="0" compatLnSpc="1">
              <a:prstTxWarp prst="textNoShape">
                <a:avLst/>
              </a:prstTxWarp>
              <a:norm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a typeface="+mn-ea"/>
              </a:endParaRPr>
            </a:p>
          </p:txBody>
        </p:sp>
        <p:grpSp>
          <p:nvGrpSpPr>
            <p:cNvPr id="64" name="Group 63">
              <a:extLst>
                <a:ext uri="{FF2B5EF4-FFF2-40B4-BE49-F238E27FC236}">
                  <a16:creationId xmlns:a16="http://schemas.microsoft.com/office/drawing/2014/main" id="{9D75D272-8E04-0940-8E27-9D5D64AB8823}"/>
                </a:ext>
              </a:extLst>
            </p:cNvPr>
            <p:cNvGrpSpPr/>
            <p:nvPr/>
          </p:nvGrpSpPr>
          <p:grpSpPr>
            <a:xfrm>
              <a:off x="4640455" y="1573957"/>
              <a:ext cx="1513473" cy="1488467"/>
              <a:chOff x="2819702" y="217482"/>
              <a:chExt cx="4952375" cy="4745037"/>
            </a:xfrm>
          </p:grpSpPr>
          <p:sp>
            <p:nvSpPr>
              <p:cNvPr id="177" name="Arc 176">
                <a:extLst>
                  <a:ext uri="{FF2B5EF4-FFF2-40B4-BE49-F238E27FC236}">
                    <a16:creationId xmlns:a16="http://schemas.microsoft.com/office/drawing/2014/main" id="{4D755513-8C36-7A4E-9A30-30E5C063B5E5}"/>
                  </a:ext>
                </a:extLst>
              </p:cNvPr>
              <p:cNvSpPr/>
              <p:nvPr/>
            </p:nvSpPr>
            <p:spPr>
              <a:xfrm>
                <a:off x="3027040" y="217482"/>
                <a:ext cx="4745037" cy="4745037"/>
              </a:xfrm>
              <a:prstGeom prst="arc">
                <a:avLst>
                  <a:gd name="adj1" fmla="val 7346870"/>
                  <a:gd name="adj2" fmla="val 300450"/>
                </a:avLst>
              </a:prstGeom>
              <a:noFill/>
              <a:ln w="19050" cap="flat" cmpd="sng" algn="ctr">
                <a:solidFill>
                  <a:srgbClr val="74BF4B"/>
                </a:solidFill>
                <a:prstDash val="solid"/>
              </a:ln>
              <a:effectLst/>
            </p:spPr>
            <p:txBody>
              <a:bodyPr rtlCol="0" anchor="t">
                <a:norm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endParaRPr>
              </a:p>
            </p:txBody>
          </p:sp>
          <p:sp>
            <p:nvSpPr>
              <p:cNvPr id="178" name="Oval 177">
                <a:extLst>
                  <a:ext uri="{FF2B5EF4-FFF2-40B4-BE49-F238E27FC236}">
                    <a16:creationId xmlns:a16="http://schemas.microsoft.com/office/drawing/2014/main" id="{4961F971-01BF-474A-8FDE-F6365AD71371}"/>
                  </a:ext>
                </a:extLst>
              </p:cNvPr>
              <p:cNvSpPr/>
              <p:nvPr/>
            </p:nvSpPr>
            <p:spPr>
              <a:xfrm>
                <a:off x="6745434" y="544729"/>
                <a:ext cx="348605" cy="348605"/>
              </a:xfrm>
              <a:prstGeom prst="ellipse">
                <a:avLst/>
              </a:prstGeom>
              <a:solidFill>
                <a:srgbClr val="74BF4B"/>
              </a:solidFill>
              <a:ln w="25400" cap="flat" cmpd="sng" algn="ctr">
                <a:noFill/>
                <a:prstDash val="solid"/>
              </a:ln>
              <a:effectLst/>
            </p:spPr>
            <p:txBody>
              <a:bodyPr rtlCol="0" anchor="t">
                <a:normAutofit fontScale="25000" lnSpcReduction="20000"/>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endParaRPr>
              </a:p>
            </p:txBody>
          </p:sp>
          <p:sp>
            <p:nvSpPr>
              <p:cNvPr id="179" name="Oval 178">
                <a:extLst>
                  <a:ext uri="{FF2B5EF4-FFF2-40B4-BE49-F238E27FC236}">
                    <a16:creationId xmlns:a16="http://schemas.microsoft.com/office/drawing/2014/main" id="{16405A3E-107A-3C4A-8D72-7197FD444274}"/>
                  </a:ext>
                </a:extLst>
              </p:cNvPr>
              <p:cNvSpPr/>
              <p:nvPr/>
            </p:nvSpPr>
            <p:spPr>
              <a:xfrm>
                <a:off x="2819702" y="1475767"/>
                <a:ext cx="677892" cy="677892"/>
              </a:xfrm>
              <a:prstGeom prst="ellipse">
                <a:avLst/>
              </a:prstGeom>
              <a:solidFill>
                <a:srgbClr val="74BF4B"/>
              </a:solidFill>
              <a:ln w="25400" cap="flat" cmpd="sng" algn="ctr">
                <a:noFill/>
                <a:prstDash val="solid"/>
              </a:ln>
              <a:effectLst/>
            </p:spPr>
            <p:txBody>
              <a:bodyPr rtlCol="0" anchor="t">
                <a:normAutofit fontScale="25000" lnSpcReduction="20000"/>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1E4471"/>
                  </a:solidFill>
                  <a:effectLst/>
                  <a:uLnTx/>
                  <a:uFillTx/>
                  <a:ea typeface="+mn-ea"/>
                </a:endParaRPr>
              </a:p>
            </p:txBody>
          </p:sp>
        </p:grpSp>
        <p:pic>
          <p:nvPicPr>
            <p:cNvPr id="65" name="Picture 64" descr="An open computer sitting on top of a table&#10;&#10;Description automatically generated">
              <a:extLst>
                <a:ext uri="{FF2B5EF4-FFF2-40B4-BE49-F238E27FC236}">
                  <a16:creationId xmlns:a16="http://schemas.microsoft.com/office/drawing/2014/main" id="{9C32A58A-B71D-1B49-A31F-EFAEE6EE69F8}"/>
                </a:ext>
              </a:extLst>
            </p:cNvPr>
            <p:cNvPicPr>
              <a:picLocks/>
            </p:cNvPicPr>
            <p:nvPr/>
          </p:nvPicPr>
          <p:blipFill rotWithShape="1">
            <a:blip r:embed="rId5" cstate="print">
              <a:extLst>
                <a:ext uri="{28A0092B-C50C-407E-A947-70E740481C1C}">
                  <a14:useLocalDpi xmlns:a14="http://schemas.microsoft.com/office/drawing/2010/main" val="0"/>
                </a:ext>
              </a:extLst>
            </a:blip>
            <a:srcRect t="14439"/>
            <a:stretch/>
          </p:blipFill>
          <p:spPr>
            <a:xfrm>
              <a:off x="4640455" y="1955643"/>
              <a:ext cx="2529043" cy="1186774"/>
            </a:xfrm>
            <a:prstGeom prst="rect">
              <a:avLst/>
            </a:prstGeom>
          </p:spPr>
        </p:pic>
        <p:sp>
          <p:nvSpPr>
            <p:cNvPr id="66" name="Freeform: Shape 75">
              <a:extLst>
                <a:ext uri="{FF2B5EF4-FFF2-40B4-BE49-F238E27FC236}">
                  <a16:creationId xmlns:a16="http://schemas.microsoft.com/office/drawing/2014/main" id="{9EA2136E-7405-F247-8EAA-121B3A717346}"/>
                </a:ext>
              </a:extLst>
            </p:cNvPr>
            <p:cNvSpPr/>
            <p:nvPr/>
          </p:nvSpPr>
          <p:spPr>
            <a:xfrm flipV="1">
              <a:off x="5150188" y="2633774"/>
              <a:ext cx="542468" cy="387122"/>
            </a:xfrm>
            <a:custGeom>
              <a:avLst/>
              <a:gdLst>
                <a:gd name="connsiteX0" fmla="*/ 1287740 w 2409745"/>
                <a:gd name="connsiteY0" fmla="*/ 1633918 h 1675352"/>
                <a:gd name="connsiteX1" fmla="*/ 2388831 w 2409745"/>
                <a:gd name="connsiteY1" fmla="*/ 165735 h 1675352"/>
                <a:gd name="connsiteX2" fmla="*/ 2305963 w 2409745"/>
                <a:gd name="connsiteY2" fmla="*/ 0 h 1675352"/>
                <a:gd name="connsiteX3" fmla="*/ 1204873 w 2409745"/>
                <a:gd name="connsiteY3" fmla="*/ 0 h 1675352"/>
                <a:gd name="connsiteX4" fmla="*/ 103783 w 2409745"/>
                <a:gd name="connsiteY4" fmla="*/ 0 h 1675352"/>
                <a:gd name="connsiteX5" fmla="*/ 20915 w 2409745"/>
                <a:gd name="connsiteY5" fmla="*/ 165735 h 1675352"/>
                <a:gd name="connsiteX6" fmla="*/ 1122005 w 2409745"/>
                <a:gd name="connsiteY6" fmla="*/ 1633918 h 1675352"/>
                <a:gd name="connsiteX7" fmla="*/ 1287740 w 2409745"/>
                <a:gd name="connsiteY7" fmla="*/ 1633918 h 16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745" h="1675352">
                  <a:moveTo>
                    <a:pt x="1287740" y="1633918"/>
                  </a:moveTo>
                  <a:lnTo>
                    <a:pt x="2388831" y="165735"/>
                  </a:lnTo>
                  <a:cubicBezTo>
                    <a:pt x="2440075" y="97441"/>
                    <a:pt x="2391307" y="0"/>
                    <a:pt x="2305963" y="0"/>
                  </a:cubicBezTo>
                  <a:lnTo>
                    <a:pt x="1204873" y="0"/>
                  </a:lnTo>
                  <a:lnTo>
                    <a:pt x="103783" y="0"/>
                  </a:lnTo>
                  <a:cubicBezTo>
                    <a:pt x="18439" y="0"/>
                    <a:pt x="-30329" y="97441"/>
                    <a:pt x="20915" y="165735"/>
                  </a:cubicBezTo>
                  <a:lnTo>
                    <a:pt x="1122005" y="1633918"/>
                  </a:lnTo>
                  <a:cubicBezTo>
                    <a:pt x="1163439" y="1689164"/>
                    <a:pt x="1246307" y="1689164"/>
                    <a:pt x="1287740" y="1633918"/>
                  </a:cubicBezTo>
                </a:path>
              </a:pathLst>
            </a:custGeom>
            <a:solidFill>
              <a:srgbClr val="74BF4B">
                <a:alpha val="64000"/>
              </a:srgbClr>
            </a:solidFill>
            <a:ln w="9525" cap="flat">
              <a:noFill/>
              <a:prstDash val="solid"/>
              <a:miter/>
            </a:ln>
          </p:spPr>
          <p:txBody>
            <a:bodyPr rtlCol="0" anchor="ctr">
              <a:norm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charset="0"/>
              </a:endParaRPr>
            </a:p>
          </p:txBody>
        </p:sp>
        <p:sp>
          <p:nvSpPr>
            <p:cNvPr id="67" name="Freeform: Shape 76">
              <a:extLst>
                <a:ext uri="{FF2B5EF4-FFF2-40B4-BE49-F238E27FC236}">
                  <a16:creationId xmlns:a16="http://schemas.microsoft.com/office/drawing/2014/main" id="{E2AE7CB9-0014-4743-BDAF-5204CCF75CB1}"/>
                </a:ext>
              </a:extLst>
            </p:cNvPr>
            <p:cNvSpPr/>
            <p:nvPr/>
          </p:nvSpPr>
          <p:spPr>
            <a:xfrm flipV="1">
              <a:off x="5482801" y="2798584"/>
              <a:ext cx="384959" cy="274718"/>
            </a:xfrm>
            <a:custGeom>
              <a:avLst/>
              <a:gdLst>
                <a:gd name="connsiteX0" fmla="*/ 1287740 w 2409745"/>
                <a:gd name="connsiteY0" fmla="*/ 1633918 h 1675352"/>
                <a:gd name="connsiteX1" fmla="*/ 2388831 w 2409745"/>
                <a:gd name="connsiteY1" fmla="*/ 165735 h 1675352"/>
                <a:gd name="connsiteX2" fmla="*/ 2305963 w 2409745"/>
                <a:gd name="connsiteY2" fmla="*/ 0 h 1675352"/>
                <a:gd name="connsiteX3" fmla="*/ 1204873 w 2409745"/>
                <a:gd name="connsiteY3" fmla="*/ 0 h 1675352"/>
                <a:gd name="connsiteX4" fmla="*/ 103783 w 2409745"/>
                <a:gd name="connsiteY4" fmla="*/ 0 h 1675352"/>
                <a:gd name="connsiteX5" fmla="*/ 20915 w 2409745"/>
                <a:gd name="connsiteY5" fmla="*/ 165735 h 1675352"/>
                <a:gd name="connsiteX6" fmla="*/ 1122005 w 2409745"/>
                <a:gd name="connsiteY6" fmla="*/ 1633918 h 1675352"/>
                <a:gd name="connsiteX7" fmla="*/ 1287740 w 2409745"/>
                <a:gd name="connsiteY7" fmla="*/ 1633918 h 1675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745" h="1675352">
                  <a:moveTo>
                    <a:pt x="1287740" y="1633918"/>
                  </a:moveTo>
                  <a:lnTo>
                    <a:pt x="2388831" y="165735"/>
                  </a:lnTo>
                  <a:cubicBezTo>
                    <a:pt x="2440075" y="97441"/>
                    <a:pt x="2391307" y="0"/>
                    <a:pt x="2305963" y="0"/>
                  </a:cubicBezTo>
                  <a:lnTo>
                    <a:pt x="1204873" y="0"/>
                  </a:lnTo>
                  <a:lnTo>
                    <a:pt x="103783" y="0"/>
                  </a:lnTo>
                  <a:cubicBezTo>
                    <a:pt x="18439" y="0"/>
                    <a:pt x="-30329" y="97441"/>
                    <a:pt x="20915" y="165735"/>
                  </a:cubicBezTo>
                  <a:lnTo>
                    <a:pt x="1122005" y="1633918"/>
                  </a:lnTo>
                  <a:cubicBezTo>
                    <a:pt x="1163439" y="1689164"/>
                    <a:pt x="1246307" y="1689164"/>
                    <a:pt x="1287740" y="1633918"/>
                  </a:cubicBezTo>
                </a:path>
              </a:pathLst>
            </a:custGeom>
            <a:solidFill>
              <a:srgbClr val="0D274D">
                <a:alpha val="64000"/>
              </a:srgbClr>
            </a:solidFill>
            <a:ln w="9525" cap="flat">
              <a:noFill/>
              <a:prstDash val="solid"/>
              <a:miter/>
            </a:ln>
          </p:spPr>
          <p:txBody>
            <a:bodyPr rtlCol="0" anchor="ctr">
              <a:normAutofit fontScale="85000" lnSpcReduction="20000"/>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Arial" charset="0"/>
                <a:ea typeface="ＭＳ Ｐゴシック" charset="0"/>
              </a:endParaRPr>
            </a:p>
          </p:txBody>
        </p:sp>
        <p:sp>
          <p:nvSpPr>
            <p:cNvPr id="68" name="Freeform: Shape 88">
              <a:extLst>
                <a:ext uri="{FF2B5EF4-FFF2-40B4-BE49-F238E27FC236}">
                  <a16:creationId xmlns:a16="http://schemas.microsoft.com/office/drawing/2014/main" id="{68E5FA21-5717-0A4E-BE27-8BBCE2ABC678}"/>
                </a:ext>
              </a:extLst>
            </p:cNvPr>
            <p:cNvSpPr/>
            <p:nvPr/>
          </p:nvSpPr>
          <p:spPr>
            <a:xfrm>
              <a:off x="6422934" y="2774136"/>
              <a:ext cx="943312" cy="65157"/>
            </a:xfrm>
            <a:custGeom>
              <a:avLst/>
              <a:gdLst>
                <a:gd name="connsiteX0" fmla="*/ 3195143 w 3335066"/>
                <a:gd name="connsiteY0" fmla="*/ 59533 h 224427"/>
                <a:gd name="connsiteX1" fmla="*/ 3164869 w 3335066"/>
                <a:gd name="connsiteY1" fmla="*/ 92131 h 224427"/>
                <a:gd name="connsiteX2" fmla="*/ 3162307 w 3335066"/>
                <a:gd name="connsiteY2" fmla="*/ 94991 h 224427"/>
                <a:gd name="connsiteX3" fmla="*/ 3096516 w 3335066"/>
                <a:gd name="connsiteY3" fmla="*/ 157445 h 224427"/>
                <a:gd name="connsiteX4" fmla="*/ 2997711 w 3335066"/>
                <a:gd name="connsiteY4" fmla="*/ 186467 h 224427"/>
                <a:gd name="connsiteX5" fmla="*/ 2996876 w 3335066"/>
                <a:gd name="connsiteY5" fmla="*/ 186467 h 224427"/>
                <a:gd name="connsiteX6" fmla="*/ 2862732 w 3335066"/>
                <a:gd name="connsiteY6" fmla="*/ 128185 h 224427"/>
                <a:gd name="connsiteX7" fmla="*/ 2830910 w 3335066"/>
                <a:gd name="connsiteY7" fmla="*/ 93919 h 224427"/>
                <a:gd name="connsiteX8" fmla="*/ 2762437 w 3335066"/>
                <a:gd name="connsiteY8" fmla="*/ 29201 h 224427"/>
                <a:gd name="connsiteX9" fmla="*/ 2664645 w 3335066"/>
                <a:gd name="connsiteY9" fmla="*/ 119 h 224427"/>
                <a:gd name="connsiteX10" fmla="*/ 2530620 w 3335066"/>
                <a:gd name="connsiteY10" fmla="*/ 59772 h 224427"/>
                <a:gd name="connsiteX11" fmla="*/ 2500347 w 3335066"/>
                <a:gd name="connsiteY11" fmla="*/ 92369 h 224427"/>
                <a:gd name="connsiteX12" fmla="*/ 2496652 w 3335066"/>
                <a:gd name="connsiteY12" fmla="*/ 96481 h 224427"/>
                <a:gd name="connsiteX13" fmla="*/ 2432053 w 3335066"/>
                <a:gd name="connsiteY13" fmla="*/ 157445 h 224427"/>
                <a:gd name="connsiteX14" fmla="*/ 2333248 w 3335066"/>
                <a:gd name="connsiteY14" fmla="*/ 186467 h 224427"/>
                <a:gd name="connsiteX15" fmla="*/ 2332413 w 3335066"/>
                <a:gd name="connsiteY15" fmla="*/ 186467 h 224427"/>
                <a:gd name="connsiteX16" fmla="*/ 2198150 w 3335066"/>
                <a:gd name="connsiteY16" fmla="*/ 128185 h 224427"/>
                <a:gd name="connsiteX17" fmla="*/ 2170201 w 3335066"/>
                <a:gd name="connsiteY17" fmla="*/ 98269 h 224427"/>
                <a:gd name="connsiteX18" fmla="*/ 2166208 w 3335066"/>
                <a:gd name="connsiteY18" fmla="*/ 93859 h 224427"/>
                <a:gd name="connsiteX19" fmla="*/ 2097796 w 3335066"/>
                <a:gd name="connsiteY19" fmla="*/ 29141 h 224427"/>
                <a:gd name="connsiteX20" fmla="*/ 1999884 w 3335066"/>
                <a:gd name="connsiteY20" fmla="*/ 60 h 224427"/>
                <a:gd name="connsiteX21" fmla="*/ 1865621 w 3335066"/>
                <a:gd name="connsiteY21" fmla="*/ 59712 h 224427"/>
                <a:gd name="connsiteX22" fmla="*/ 1833679 w 3335066"/>
                <a:gd name="connsiteY22" fmla="*/ 93978 h 224427"/>
                <a:gd name="connsiteX23" fmla="*/ 1832308 w 3335066"/>
                <a:gd name="connsiteY23" fmla="*/ 95528 h 224427"/>
                <a:gd name="connsiteX24" fmla="*/ 1766875 w 3335066"/>
                <a:gd name="connsiteY24" fmla="*/ 157445 h 224427"/>
                <a:gd name="connsiteX25" fmla="*/ 1667951 w 3335066"/>
                <a:gd name="connsiteY25" fmla="*/ 186467 h 224427"/>
                <a:gd name="connsiteX26" fmla="*/ 1667116 w 3335066"/>
                <a:gd name="connsiteY26" fmla="*/ 186467 h 224427"/>
                <a:gd name="connsiteX27" fmla="*/ 1532972 w 3335066"/>
                <a:gd name="connsiteY27" fmla="*/ 128185 h 224427"/>
                <a:gd name="connsiteX28" fmla="*/ 1501150 w 3335066"/>
                <a:gd name="connsiteY28" fmla="*/ 93919 h 224427"/>
                <a:gd name="connsiteX29" fmla="*/ 1432797 w 3335066"/>
                <a:gd name="connsiteY29" fmla="*/ 29141 h 224427"/>
                <a:gd name="connsiteX30" fmla="*/ 1334885 w 3335066"/>
                <a:gd name="connsiteY30" fmla="*/ 60 h 224427"/>
                <a:gd name="connsiteX31" fmla="*/ 1200860 w 3335066"/>
                <a:gd name="connsiteY31" fmla="*/ 59712 h 224427"/>
                <a:gd name="connsiteX32" fmla="*/ 1168918 w 3335066"/>
                <a:gd name="connsiteY32" fmla="*/ 94038 h 224427"/>
                <a:gd name="connsiteX33" fmla="*/ 1168024 w 3335066"/>
                <a:gd name="connsiteY33" fmla="*/ 95051 h 224427"/>
                <a:gd name="connsiteX34" fmla="*/ 1102234 w 3335066"/>
                <a:gd name="connsiteY34" fmla="*/ 157564 h 224427"/>
                <a:gd name="connsiteX35" fmla="*/ 1003428 w 3335066"/>
                <a:gd name="connsiteY35" fmla="*/ 186586 h 224427"/>
                <a:gd name="connsiteX36" fmla="*/ 1002594 w 3335066"/>
                <a:gd name="connsiteY36" fmla="*/ 186586 h 224427"/>
                <a:gd name="connsiteX37" fmla="*/ 868569 w 3335066"/>
                <a:gd name="connsiteY37" fmla="*/ 128304 h 224427"/>
                <a:gd name="connsiteX38" fmla="*/ 836746 w 3335066"/>
                <a:gd name="connsiteY38" fmla="*/ 94038 h 224427"/>
                <a:gd name="connsiteX39" fmla="*/ 768274 w 3335066"/>
                <a:gd name="connsiteY39" fmla="*/ 29320 h 224427"/>
                <a:gd name="connsiteX40" fmla="*/ 670482 w 3335066"/>
                <a:gd name="connsiteY40" fmla="*/ 238 h 224427"/>
                <a:gd name="connsiteX41" fmla="*/ 536457 w 3335066"/>
                <a:gd name="connsiteY41" fmla="*/ 59891 h 224427"/>
                <a:gd name="connsiteX42" fmla="*/ 506184 w 3335066"/>
                <a:gd name="connsiteY42" fmla="*/ 92489 h 224427"/>
                <a:gd name="connsiteX43" fmla="*/ 503681 w 3335066"/>
                <a:gd name="connsiteY43" fmla="*/ 95230 h 224427"/>
                <a:gd name="connsiteX44" fmla="*/ 437830 w 3335066"/>
                <a:gd name="connsiteY44" fmla="*/ 157802 h 224427"/>
                <a:gd name="connsiteX45" fmla="*/ 339025 w 3335066"/>
                <a:gd name="connsiteY45" fmla="*/ 186824 h 224427"/>
                <a:gd name="connsiteX46" fmla="*/ 338191 w 3335066"/>
                <a:gd name="connsiteY46" fmla="*/ 186824 h 224427"/>
                <a:gd name="connsiteX47" fmla="*/ 204166 w 3335066"/>
                <a:gd name="connsiteY47" fmla="*/ 128542 h 224427"/>
                <a:gd name="connsiteX48" fmla="*/ 172343 w 3335066"/>
                <a:gd name="connsiteY48" fmla="*/ 94276 h 224427"/>
                <a:gd name="connsiteX49" fmla="*/ 103871 w 3335066"/>
                <a:gd name="connsiteY49" fmla="*/ 29558 h 224427"/>
                <a:gd name="connsiteX50" fmla="*/ 6138 w 3335066"/>
                <a:gd name="connsiteY50" fmla="*/ 477 h 224427"/>
                <a:gd name="connsiteX51" fmla="*/ 179 w 3335066"/>
                <a:gd name="connsiteY51" fmla="*/ 477 h 224427"/>
                <a:gd name="connsiteX52" fmla="*/ 0 w 3335066"/>
                <a:gd name="connsiteY52" fmla="*/ 37484 h 224427"/>
                <a:gd name="connsiteX53" fmla="*/ 5959 w 3335066"/>
                <a:gd name="connsiteY53" fmla="*/ 37484 h 224427"/>
                <a:gd name="connsiteX54" fmla="*/ 83669 w 3335066"/>
                <a:gd name="connsiteY54" fmla="*/ 60487 h 224427"/>
                <a:gd name="connsiteX55" fmla="*/ 143500 w 3335066"/>
                <a:gd name="connsiteY55" fmla="*/ 117518 h 224427"/>
                <a:gd name="connsiteX56" fmla="*/ 148208 w 3335066"/>
                <a:gd name="connsiteY56" fmla="*/ 122762 h 224427"/>
                <a:gd name="connsiteX57" fmla="*/ 178243 w 3335066"/>
                <a:gd name="connsiteY57" fmla="*/ 154942 h 224427"/>
                <a:gd name="connsiteX58" fmla="*/ 337893 w 3335066"/>
                <a:gd name="connsiteY58" fmla="*/ 223832 h 224427"/>
                <a:gd name="connsiteX59" fmla="*/ 338846 w 3335066"/>
                <a:gd name="connsiteY59" fmla="*/ 223832 h 224427"/>
                <a:gd name="connsiteX60" fmla="*/ 457913 w 3335066"/>
                <a:gd name="connsiteY60" fmla="*/ 188553 h 224427"/>
                <a:gd name="connsiteX61" fmla="*/ 531332 w 3335066"/>
                <a:gd name="connsiteY61" fmla="*/ 119186 h 224427"/>
                <a:gd name="connsiteX62" fmla="*/ 534609 w 3335066"/>
                <a:gd name="connsiteY62" fmla="*/ 115491 h 224427"/>
                <a:gd name="connsiteX63" fmla="*/ 561545 w 3335066"/>
                <a:gd name="connsiteY63" fmla="*/ 86589 h 224427"/>
                <a:gd name="connsiteX64" fmla="*/ 670303 w 3335066"/>
                <a:gd name="connsiteY64" fmla="*/ 37484 h 224427"/>
                <a:gd name="connsiteX65" fmla="*/ 748012 w 3335066"/>
                <a:gd name="connsiteY65" fmla="*/ 60487 h 224427"/>
                <a:gd name="connsiteX66" fmla="*/ 807844 w 3335066"/>
                <a:gd name="connsiteY66" fmla="*/ 117637 h 224427"/>
                <a:gd name="connsiteX67" fmla="*/ 810883 w 3335066"/>
                <a:gd name="connsiteY67" fmla="*/ 121034 h 224427"/>
                <a:gd name="connsiteX68" fmla="*/ 842646 w 3335066"/>
                <a:gd name="connsiteY68" fmla="*/ 155061 h 224427"/>
                <a:gd name="connsiteX69" fmla="*/ 1002475 w 3335066"/>
                <a:gd name="connsiteY69" fmla="*/ 223951 h 224427"/>
                <a:gd name="connsiteX70" fmla="*/ 1122257 w 3335066"/>
                <a:gd name="connsiteY70" fmla="*/ 188672 h 224427"/>
                <a:gd name="connsiteX71" fmla="*/ 1195675 w 3335066"/>
                <a:gd name="connsiteY71" fmla="*/ 119246 h 224427"/>
                <a:gd name="connsiteX72" fmla="*/ 1225770 w 3335066"/>
                <a:gd name="connsiteY72" fmla="*/ 86708 h 224427"/>
                <a:gd name="connsiteX73" fmla="*/ 1334408 w 3335066"/>
                <a:gd name="connsiteY73" fmla="*/ 37603 h 224427"/>
                <a:gd name="connsiteX74" fmla="*/ 1412118 w 3335066"/>
                <a:gd name="connsiteY74" fmla="*/ 60606 h 224427"/>
                <a:gd name="connsiteX75" fmla="*/ 1472605 w 3335066"/>
                <a:gd name="connsiteY75" fmla="*/ 118411 h 224427"/>
                <a:gd name="connsiteX76" fmla="*/ 1476717 w 3335066"/>
                <a:gd name="connsiteY76" fmla="*/ 123000 h 224427"/>
                <a:gd name="connsiteX77" fmla="*/ 1506692 w 3335066"/>
                <a:gd name="connsiteY77" fmla="*/ 155121 h 224427"/>
                <a:gd name="connsiteX78" fmla="*/ 1666341 w 3335066"/>
                <a:gd name="connsiteY78" fmla="*/ 224011 h 224427"/>
                <a:gd name="connsiteX79" fmla="*/ 1667295 w 3335066"/>
                <a:gd name="connsiteY79" fmla="*/ 224011 h 224427"/>
                <a:gd name="connsiteX80" fmla="*/ 1786720 w 3335066"/>
                <a:gd name="connsiteY80" fmla="*/ 188731 h 224427"/>
                <a:gd name="connsiteX81" fmla="*/ 1860258 w 3335066"/>
                <a:gd name="connsiteY81" fmla="*/ 119365 h 224427"/>
                <a:gd name="connsiteX82" fmla="*/ 1863595 w 3335066"/>
                <a:gd name="connsiteY82" fmla="*/ 115611 h 224427"/>
                <a:gd name="connsiteX83" fmla="*/ 1890471 w 3335066"/>
                <a:gd name="connsiteY83" fmla="*/ 86768 h 224427"/>
                <a:gd name="connsiteX84" fmla="*/ 1999348 w 3335066"/>
                <a:gd name="connsiteY84" fmla="*/ 37663 h 224427"/>
                <a:gd name="connsiteX85" fmla="*/ 2077176 w 3335066"/>
                <a:gd name="connsiteY85" fmla="*/ 60666 h 224427"/>
                <a:gd name="connsiteX86" fmla="*/ 2138736 w 3335066"/>
                <a:gd name="connsiteY86" fmla="*/ 119544 h 224427"/>
                <a:gd name="connsiteX87" fmla="*/ 2143742 w 3335066"/>
                <a:gd name="connsiteY87" fmla="*/ 125086 h 224427"/>
                <a:gd name="connsiteX88" fmla="*/ 2171989 w 3335066"/>
                <a:gd name="connsiteY88" fmla="*/ 155180 h 224427"/>
                <a:gd name="connsiteX89" fmla="*/ 2331758 w 3335066"/>
                <a:gd name="connsiteY89" fmla="*/ 224070 h 224427"/>
                <a:gd name="connsiteX90" fmla="*/ 2332711 w 3335066"/>
                <a:gd name="connsiteY90" fmla="*/ 224070 h 224427"/>
                <a:gd name="connsiteX91" fmla="*/ 2451779 w 3335066"/>
                <a:gd name="connsiteY91" fmla="*/ 188791 h 224427"/>
                <a:gd name="connsiteX92" fmla="*/ 2525197 w 3335066"/>
                <a:gd name="connsiteY92" fmla="*/ 119544 h 224427"/>
                <a:gd name="connsiteX93" fmla="*/ 2530024 w 3335066"/>
                <a:gd name="connsiteY93" fmla="*/ 114180 h 224427"/>
                <a:gd name="connsiteX94" fmla="*/ 2555470 w 3335066"/>
                <a:gd name="connsiteY94" fmla="*/ 87006 h 224427"/>
                <a:gd name="connsiteX95" fmla="*/ 2664228 w 3335066"/>
                <a:gd name="connsiteY95" fmla="*/ 37901 h 224427"/>
                <a:gd name="connsiteX96" fmla="*/ 2741937 w 3335066"/>
                <a:gd name="connsiteY96" fmla="*/ 60904 h 224427"/>
                <a:gd name="connsiteX97" fmla="*/ 2801769 w 3335066"/>
                <a:gd name="connsiteY97" fmla="*/ 118054 h 224427"/>
                <a:gd name="connsiteX98" fmla="*/ 2806536 w 3335066"/>
                <a:gd name="connsiteY98" fmla="*/ 123358 h 224427"/>
                <a:gd name="connsiteX99" fmla="*/ 2836571 w 3335066"/>
                <a:gd name="connsiteY99" fmla="*/ 155538 h 224427"/>
                <a:gd name="connsiteX100" fmla="*/ 2996221 w 3335066"/>
                <a:gd name="connsiteY100" fmla="*/ 224427 h 224427"/>
                <a:gd name="connsiteX101" fmla="*/ 2997174 w 3335066"/>
                <a:gd name="connsiteY101" fmla="*/ 224427 h 224427"/>
                <a:gd name="connsiteX102" fmla="*/ 3116241 w 3335066"/>
                <a:gd name="connsiteY102" fmla="*/ 189148 h 224427"/>
                <a:gd name="connsiteX103" fmla="*/ 3189660 w 3335066"/>
                <a:gd name="connsiteY103" fmla="*/ 119782 h 224427"/>
                <a:gd name="connsiteX104" fmla="*/ 3194427 w 3335066"/>
                <a:gd name="connsiteY104" fmla="*/ 114419 h 224427"/>
                <a:gd name="connsiteX105" fmla="*/ 3219873 w 3335066"/>
                <a:gd name="connsiteY105" fmla="*/ 87185 h 224427"/>
                <a:gd name="connsiteX106" fmla="*/ 3219873 w 3335066"/>
                <a:gd name="connsiteY106" fmla="*/ 87185 h 224427"/>
                <a:gd name="connsiteX107" fmla="*/ 3329227 w 3335066"/>
                <a:gd name="connsiteY107" fmla="*/ 37007 h 224427"/>
                <a:gd name="connsiteX108" fmla="*/ 3335067 w 3335066"/>
                <a:gd name="connsiteY108" fmla="*/ 36888 h 224427"/>
                <a:gd name="connsiteX109" fmla="*/ 3335067 w 3335066"/>
                <a:gd name="connsiteY109" fmla="*/ 0 h 224427"/>
                <a:gd name="connsiteX110" fmla="*/ 3329108 w 3335066"/>
                <a:gd name="connsiteY110" fmla="*/ 0 h 224427"/>
                <a:gd name="connsiteX111" fmla="*/ 3195143 w 3335066"/>
                <a:gd name="connsiteY111" fmla="*/ 59533 h 2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335066" h="224427">
                  <a:moveTo>
                    <a:pt x="3195143" y="59533"/>
                  </a:moveTo>
                  <a:cubicBezTo>
                    <a:pt x="3184714" y="69903"/>
                    <a:pt x="3174583" y="81225"/>
                    <a:pt x="3164869" y="92131"/>
                  </a:cubicBezTo>
                  <a:lnTo>
                    <a:pt x="3162307" y="94991"/>
                  </a:lnTo>
                  <a:cubicBezTo>
                    <a:pt x="3142581" y="117160"/>
                    <a:pt x="3122201" y="140103"/>
                    <a:pt x="3096516" y="157445"/>
                  </a:cubicBezTo>
                  <a:cubicBezTo>
                    <a:pt x="3068150" y="176694"/>
                    <a:pt x="3034897" y="186467"/>
                    <a:pt x="2997711" y="186467"/>
                  </a:cubicBezTo>
                  <a:lnTo>
                    <a:pt x="2996876" y="186467"/>
                  </a:lnTo>
                  <a:cubicBezTo>
                    <a:pt x="2929655" y="186467"/>
                    <a:pt x="2889847" y="155300"/>
                    <a:pt x="2862732" y="128185"/>
                  </a:cubicBezTo>
                  <a:cubicBezTo>
                    <a:pt x="2851410" y="116802"/>
                    <a:pt x="2840504" y="104645"/>
                    <a:pt x="2830910" y="93919"/>
                  </a:cubicBezTo>
                  <a:cubicBezTo>
                    <a:pt x="2809158" y="69605"/>
                    <a:pt x="2788598" y="46661"/>
                    <a:pt x="2762437" y="29201"/>
                  </a:cubicBezTo>
                  <a:cubicBezTo>
                    <a:pt x="2732462" y="9177"/>
                    <a:pt x="2702308" y="238"/>
                    <a:pt x="2664645" y="119"/>
                  </a:cubicBezTo>
                  <a:cubicBezTo>
                    <a:pt x="2600046" y="358"/>
                    <a:pt x="2562026" y="28902"/>
                    <a:pt x="2530620" y="59772"/>
                  </a:cubicBezTo>
                  <a:cubicBezTo>
                    <a:pt x="2520191" y="70141"/>
                    <a:pt x="2510060" y="81464"/>
                    <a:pt x="2500347" y="92369"/>
                  </a:cubicBezTo>
                  <a:lnTo>
                    <a:pt x="2496652" y="96481"/>
                  </a:lnTo>
                  <a:cubicBezTo>
                    <a:pt x="2477284" y="118054"/>
                    <a:pt x="2457201" y="140401"/>
                    <a:pt x="2432053" y="157445"/>
                  </a:cubicBezTo>
                  <a:cubicBezTo>
                    <a:pt x="2403687" y="176694"/>
                    <a:pt x="2370434" y="186467"/>
                    <a:pt x="2333248" y="186467"/>
                  </a:cubicBezTo>
                  <a:lnTo>
                    <a:pt x="2332413" y="186467"/>
                  </a:lnTo>
                  <a:cubicBezTo>
                    <a:pt x="2265073" y="186467"/>
                    <a:pt x="2225265" y="155300"/>
                    <a:pt x="2198150" y="128185"/>
                  </a:cubicBezTo>
                  <a:cubicBezTo>
                    <a:pt x="2188496" y="118590"/>
                    <a:pt x="2179200" y="108281"/>
                    <a:pt x="2170201" y="98269"/>
                  </a:cubicBezTo>
                  <a:lnTo>
                    <a:pt x="2166208" y="93859"/>
                  </a:lnTo>
                  <a:cubicBezTo>
                    <a:pt x="2144397" y="69485"/>
                    <a:pt x="2123778" y="46423"/>
                    <a:pt x="2097796" y="29141"/>
                  </a:cubicBezTo>
                  <a:cubicBezTo>
                    <a:pt x="2067701" y="9118"/>
                    <a:pt x="2037487" y="179"/>
                    <a:pt x="1999884" y="60"/>
                  </a:cubicBezTo>
                  <a:cubicBezTo>
                    <a:pt x="1935285" y="298"/>
                    <a:pt x="1897146" y="28843"/>
                    <a:pt x="1865621" y="59712"/>
                  </a:cubicBezTo>
                  <a:cubicBezTo>
                    <a:pt x="1854298" y="70975"/>
                    <a:pt x="1843333" y="83192"/>
                    <a:pt x="1833679" y="93978"/>
                  </a:cubicBezTo>
                  <a:lnTo>
                    <a:pt x="1832308" y="95528"/>
                  </a:lnTo>
                  <a:cubicBezTo>
                    <a:pt x="1812702" y="117518"/>
                    <a:pt x="1792381" y="140223"/>
                    <a:pt x="1766875" y="157445"/>
                  </a:cubicBezTo>
                  <a:cubicBezTo>
                    <a:pt x="1738449" y="176694"/>
                    <a:pt x="1705196" y="186467"/>
                    <a:pt x="1667951" y="186467"/>
                  </a:cubicBezTo>
                  <a:lnTo>
                    <a:pt x="1667116" y="186467"/>
                  </a:lnTo>
                  <a:cubicBezTo>
                    <a:pt x="1599895" y="186467"/>
                    <a:pt x="1560147" y="155300"/>
                    <a:pt x="1532972" y="128185"/>
                  </a:cubicBezTo>
                  <a:cubicBezTo>
                    <a:pt x="1521590" y="116743"/>
                    <a:pt x="1510744" y="104645"/>
                    <a:pt x="1501150" y="93919"/>
                  </a:cubicBezTo>
                  <a:cubicBezTo>
                    <a:pt x="1480530" y="70737"/>
                    <a:pt x="1459196" y="46840"/>
                    <a:pt x="1432797" y="29141"/>
                  </a:cubicBezTo>
                  <a:cubicBezTo>
                    <a:pt x="1402702" y="9118"/>
                    <a:pt x="1372488" y="179"/>
                    <a:pt x="1334885" y="60"/>
                  </a:cubicBezTo>
                  <a:cubicBezTo>
                    <a:pt x="1270286" y="298"/>
                    <a:pt x="1232266" y="28843"/>
                    <a:pt x="1200860" y="59712"/>
                  </a:cubicBezTo>
                  <a:cubicBezTo>
                    <a:pt x="1189597" y="70916"/>
                    <a:pt x="1178632" y="83192"/>
                    <a:pt x="1168918" y="94038"/>
                  </a:cubicBezTo>
                  <a:lnTo>
                    <a:pt x="1168024" y="95051"/>
                  </a:lnTo>
                  <a:cubicBezTo>
                    <a:pt x="1148299" y="117219"/>
                    <a:pt x="1127918" y="140163"/>
                    <a:pt x="1102234" y="157564"/>
                  </a:cubicBezTo>
                  <a:cubicBezTo>
                    <a:pt x="1073808" y="176813"/>
                    <a:pt x="1040614" y="186586"/>
                    <a:pt x="1003428" y="186586"/>
                  </a:cubicBezTo>
                  <a:lnTo>
                    <a:pt x="1002594" y="186586"/>
                  </a:lnTo>
                  <a:cubicBezTo>
                    <a:pt x="935492" y="186586"/>
                    <a:pt x="895684" y="155419"/>
                    <a:pt x="868569" y="128304"/>
                  </a:cubicBezTo>
                  <a:cubicBezTo>
                    <a:pt x="857246" y="116922"/>
                    <a:pt x="846341" y="104765"/>
                    <a:pt x="836746" y="94038"/>
                  </a:cubicBezTo>
                  <a:cubicBezTo>
                    <a:pt x="815948" y="70797"/>
                    <a:pt x="794435" y="46780"/>
                    <a:pt x="768274" y="29320"/>
                  </a:cubicBezTo>
                  <a:cubicBezTo>
                    <a:pt x="738299" y="9297"/>
                    <a:pt x="708144" y="358"/>
                    <a:pt x="670482" y="238"/>
                  </a:cubicBezTo>
                  <a:cubicBezTo>
                    <a:pt x="605883" y="477"/>
                    <a:pt x="567863" y="29022"/>
                    <a:pt x="536457" y="59891"/>
                  </a:cubicBezTo>
                  <a:cubicBezTo>
                    <a:pt x="526028" y="70260"/>
                    <a:pt x="515897" y="81583"/>
                    <a:pt x="506184" y="92489"/>
                  </a:cubicBezTo>
                  <a:lnTo>
                    <a:pt x="503681" y="95230"/>
                  </a:lnTo>
                  <a:cubicBezTo>
                    <a:pt x="483955" y="117398"/>
                    <a:pt x="463575" y="140342"/>
                    <a:pt x="437830" y="157802"/>
                  </a:cubicBezTo>
                  <a:cubicBezTo>
                    <a:pt x="409464" y="177051"/>
                    <a:pt x="376211" y="186824"/>
                    <a:pt x="339025" y="186824"/>
                  </a:cubicBezTo>
                  <a:lnTo>
                    <a:pt x="338191" y="186824"/>
                  </a:lnTo>
                  <a:cubicBezTo>
                    <a:pt x="271029" y="186824"/>
                    <a:pt x="231281" y="155657"/>
                    <a:pt x="204166" y="128542"/>
                  </a:cubicBezTo>
                  <a:cubicBezTo>
                    <a:pt x="192903" y="117279"/>
                    <a:pt x="181997" y="105063"/>
                    <a:pt x="172343" y="94276"/>
                  </a:cubicBezTo>
                  <a:cubicBezTo>
                    <a:pt x="150592" y="69962"/>
                    <a:pt x="130032" y="47019"/>
                    <a:pt x="103871" y="29558"/>
                  </a:cubicBezTo>
                  <a:cubicBezTo>
                    <a:pt x="73776" y="9535"/>
                    <a:pt x="43622" y="596"/>
                    <a:pt x="6138" y="477"/>
                  </a:cubicBezTo>
                  <a:lnTo>
                    <a:pt x="179" y="477"/>
                  </a:lnTo>
                  <a:lnTo>
                    <a:pt x="0" y="37484"/>
                  </a:lnTo>
                  <a:lnTo>
                    <a:pt x="5959" y="37484"/>
                  </a:lnTo>
                  <a:cubicBezTo>
                    <a:pt x="35815" y="37484"/>
                    <a:pt x="59772" y="44576"/>
                    <a:pt x="83669" y="60487"/>
                  </a:cubicBezTo>
                  <a:cubicBezTo>
                    <a:pt x="105122" y="74849"/>
                    <a:pt x="123775" y="95587"/>
                    <a:pt x="143500" y="117518"/>
                  </a:cubicBezTo>
                  <a:lnTo>
                    <a:pt x="148208" y="122762"/>
                  </a:lnTo>
                  <a:cubicBezTo>
                    <a:pt x="157743" y="133429"/>
                    <a:pt x="167635" y="144454"/>
                    <a:pt x="178243" y="154942"/>
                  </a:cubicBezTo>
                  <a:cubicBezTo>
                    <a:pt x="207801" y="184500"/>
                    <a:pt x="256489" y="223832"/>
                    <a:pt x="337893" y="223832"/>
                  </a:cubicBezTo>
                  <a:lnTo>
                    <a:pt x="338846" y="223832"/>
                  </a:lnTo>
                  <a:cubicBezTo>
                    <a:pt x="383303" y="223832"/>
                    <a:pt x="423349" y="211973"/>
                    <a:pt x="457913" y="188553"/>
                  </a:cubicBezTo>
                  <a:cubicBezTo>
                    <a:pt x="487591" y="168350"/>
                    <a:pt x="509700" y="143441"/>
                    <a:pt x="531332" y="119186"/>
                  </a:cubicBezTo>
                  <a:lnTo>
                    <a:pt x="534609" y="115491"/>
                  </a:lnTo>
                  <a:cubicBezTo>
                    <a:pt x="543787" y="105241"/>
                    <a:pt x="552487" y="95528"/>
                    <a:pt x="561545" y="86589"/>
                  </a:cubicBezTo>
                  <a:cubicBezTo>
                    <a:pt x="591640" y="57209"/>
                    <a:pt x="621615" y="37603"/>
                    <a:pt x="670303" y="37484"/>
                  </a:cubicBezTo>
                  <a:cubicBezTo>
                    <a:pt x="700576" y="37603"/>
                    <a:pt x="723817" y="44457"/>
                    <a:pt x="748012" y="60487"/>
                  </a:cubicBezTo>
                  <a:cubicBezTo>
                    <a:pt x="769466" y="74968"/>
                    <a:pt x="788118" y="95706"/>
                    <a:pt x="807844" y="117637"/>
                  </a:cubicBezTo>
                  <a:lnTo>
                    <a:pt x="810883" y="121034"/>
                  </a:lnTo>
                  <a:cubicBezTo>
                    <a:pt x="821014" y="132297"/>
                    <a:pt x="831502" y="143977"/>
                    <a:pt x="842646" y="155061"/>
                  </a:cubicBezTo>
                  <a:cubicBezTo>
                    <a:pt x="872204" y="184619"/>
                    <a:pt x="920892" y="223951"/>
                    <a:pt x="1002475" y="223951"/>
                  </a:cubicBezTo>
                  <a:cubicBezTo>
                    <a:pt x="1047527" y="224189"/>
                    <a:pt x="1087574" y="212211"/>
                    <a:pt x="1122257" y="188672"/>
                  </a:cubicBezTo>
                  <a:cubicBezTo>
                    <a:pt x="1151934" y="168470"/>
                    <a:pt x="1174103" y="143560"/>
                    <a:pt x="1195675" y="119246"/>
                  </a:cubicBezTo>
                  <a:cubicBezTo>
                    <a:pt x="1205151" y="108400"/>
                    <a:pt x="1215282" y="97018"/>
                    <a:pt x="1225770" y="86708"/>
                  </a:cubicBezTo>
                  <a:cubicBezTo>
                    <a:pt x="1255805" y="57329"/>
                    <a:pt x="1285840" y="37723"/>
                    <a:pt x="1334408" y="37603"/>
                  </a:cubicBezTo>
                  <a:cubicBezTo>
                    <a:pt x="1364264" y="37723"/>
                    <a:pt x="1388280" y="44814"/>
                    <a:pt x="1412118" y="60606"/>
                  </a:cubicBezTo>
                  <a:cubicBezTo>
                    <a:pt x="1433810" y="75266"/>
                    <a:pt x="1452700" y="96243"/>
                    <a:pt x="1472605" y="118411"/>
                  </a:cubicBezTo>
                  <a:lnTo>
                    <a:pt x="1476717" y="123000"/>
                  </a:lnTo>
                  <a:cubicBezTo>
                    <a:pt x="1486251" y="133667"/>
                    <a:pt x="1496084" y="144692"/>
                    <a:pt x="1506692" y="155121"/>
                  </a:cubicBezTo>
                  <a:cubicBezTo>
                    <a:pt x="1536250" y="184679"/>
                    <a:pt x="1584937" y="224011"/>
                    <a:pt x="1666341" y="224011"/>
                  </a:cubicBezTo>
                  <a:lnTo>
                    <a:pt x="1667295" y="224011"/>
                  </a:lnTo>
                  <a:cubicBezTo>
                    <a:pt x="1711871" y="224011"/>
                    <a:pt x="1752036" y="212151"/>
                    <a:pt x="1786720" y="188731"/>
                  </a:cubicBezTo>
                  <a:cubicBezTo>
                    <a:pt x="1816695" y="168350"/>
                    <a:pt x="1838804" y="143441"/>
                    <a:pt x="1860258" y="119365"/>
                  </a:cubicBezTo>
                  <a:lnTo>
                    <a:pt x="1863595" y="115611"/>
                  </a:lnTo>
                  <a:cubicBezTo>
                    <a:pt x="1872772" y="105361"/>
                    <a:pt x="1881413" y="95647"/>
                    <a:pt x="1890471" y="86768"/>
                  </a:cubicBezTo>
                  <a:cubicBezTo>
                    <a:pt x="1920566" y="57388"/>
                    <a:pt x="1950541" y="37782"/>
                    <a:pt x="1999348" y="37663"/>
                  </a:cubicBezTo>
                  <a:cubicBezTo>
                    <a:pt x="2029323" y="37782"/>
                    <a:pt x="2053339" y="44874"/>
                    <a:pt x="2077176" y="60666"/>
                  </a:cubicBezTo>
                  <a:cubicBezTo>
                    <a:pt x="2099524" y="75683"/>
                    <a:pt x="2118593" y="96958"/>
                    <a:pt x="2138736" y="119544"/>
                  </a:cubicBezTo>
                  <a:lnTo>
                    <a:pt x="2143742" y="125086"/>
                  </a:lnTo>
                  <a:cubicBezTo>
                    <a:pt x="2152741" y="135038"/>
                    <a:pt x="2162037" y="145407"/>
                    <a:pt x="2171989" y="155180"/>
                  </a:cubicBezTo>
                  <a:cubicBezTo>
                    <a:pt x="2201547" y="184739"/>
                    <a:pt x="2250294" y="224070"/>
                    <a:pt x="2331758" y="224070"/>
                  </a:cubicBezTo>
                  <a:lnTo>
                    <a:pt x="2332711" y="224070"/>
                  </a:lnTo>
                  <a:cubicBezTo>
                    <a:pt x="2377168" y="224070"/>
                    <a:pt x="2417214" y="212211"/>
                    <a:pt x="2451779" y="188791"/>
                  </a:cubicBezTo>
                  <a:cubicBezTo>
                    <a:pt x="2481456" y="168708"/>
                    <a:pt x="2503624" y="143798"/>
                    <a:pt x="2525197" y="119544"/>
                  </a:cubicBezTo>
                  <a:lnTo>
                    <a:pt x="2530024" y="114180"/>
                  </a:lnTo>
                  <a:cubicBezTo>
                    <a:pt x="2538665" y="104526"/>
                    <a:pt x="2546770" y="95409"/>
                    <a:pt x="2555470" y="87006"/>
                  </a:cubicBezTo>
                  <a:cubicBezTo>
                    <a:pt x="2585565" y="57626"/>
                    <a:pt x="2615540" y="38020"/>
                    <a:pt x="2664228" y="37901"/>
                  </a:cubicBezTo>
                  <a:cubicBezTo>
                    <a:pt x="2694501" y="38020"/>
                    <a:pt x="2717742" y="44874"/>
                    <a:pt x="2741937" y="60904"/>
                  </a:cubicBezTo>
                  <a:cubicBezTo>
                    <a:pt x="2763391" y="75385"/>
                    <a:pt x="2782043" y="96124"/>
                    <a:pt x="2801769" y="118054"/>
                  </a:cubicBezTo>
                  <a:lnTo>
                    <a:pt x="2806536" y="123358"/>
                  </a:lnTo>
                  <a:cubicBezTo>
                    <a:pt x="2816071" y="134025"/>
                    <a:pt x="2825963" y="145050"/>
                    <a:pt x="2836571" y="155538"/>
                  </a:cubicBezTo>
                  <a:cubicBezTo>
                    <a:pt x="2866129" y="185096"/>
                    <a:pt x="2914816" y="224427"/>
                    <a:pt x="2996221" y="224427"/>
                  </a:cubicBezTo>
                  <a:lnTo>
                    <a:pt x="2997174" y="224427"/>
                  </a:lnTo>
                  <a:cubicBezTo>
                    <a:pt x="3041631" y="224427"/>
                    <a:pt x="3081677" y="212568"/>
                    <a:pt x="3116241" y="189148"/>
                  </a:cubicBezTo>
                  <a:cubicBezTo>
                    <a:pt x="3145919" y="168946"/>
                    <a:pt x="3168087" y="144036"/>
                    <a:pt x="3189660" y="119782"/>
                  </a:cubicBezTo>
                  <a:lnTo>
                    <a:pt x="3194427" y="114419"/>
                  </a:lnTo>
                  <a:cubicBezTo>
                    <a:pt x="3203069" y="104765"/>
                    <a:pt x="3211173" y="95647"/>
                    <a:pt x="3219873" y="87185"/>
                  </a:cubicBezTo>
                  <a:lnTo>
                    <a:pt x="3219873" y="87185"/>
                  </a:lnTo>
                  <a:cubicBezTo>
                    <a:pt x="3249968" y="57865"/>
                    <a:pt x="3280063" y="38140"/>
                    <a:pt x="3329227" y="37007"/>
                  </a:cubicBezTo>
                  <a:lnTo>
                    <a:pt x="3335067" y="36888"/>
                  </a:lnTo>
                  <a:lnTo>
                    <a:pt x="3335067" y="0"/>
                  </a:lnTo>
                  <a:lnTo>
                    <a:pt x="3329108" y="0"/>
                  </a:lnTo>
                  <a:cubicBezTo>
                    <a:pt x="3264568" y="119"/>
                    <a:pt x="3226607" y="28724"/>
                    <a:pt x="3195143" y="59533"/>
                  </a:cubicBezTo>
                  <a:close/>
                </a:path>
              </a:pathLst>
            </a:custGeom>
            <a:solidFill>
              <a:srgbClr val="13284C">
                <a:alpha val="66000"/>
              </a:srgbClr>
            </a:solidFill>
            <a:ln w="5958" cap="flat">
              <a:noFill/>
              <a:prstDash val="solid"/>
              <a:miter/>
            </a:ln>
          </p:spPr>
          <p:txBody>
            <a:bodyPr rtlCol="0" anchor="ctr">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a typeface="+mn-ea"/>
              </a:endParaRPr>
            </a:p>
          </p:txBody>
        </p:sp>
        <p:sp>
          <p:nvSpPr>
            <p:cNvPr id="69" name="Freeform: Shape 89">
              <a:extLst>
                <a:ext uri="{FF2B5EF4-FFF2-40B4-BE49-F238E27FC236}">
                  <a16:creationId xmlns:a16="http://schemas.microsoft.com/office/drawing/2014/main" id="{2AA5013B-177A-9F4E-B757-9A661DE122FB}"/>
                </a:ext>
              </a:extLst>
            </p:cNvPr>
            <p:cNvSpPr/>
            <p:nvPr/>
          </p:nvSpPr>
          <p:spPr>
            <a:xfrm>
              <a:off x="6422934" y="2939349"/>
              <a:ext cx="943312" cy="65157"/>
            </a:xfrm>
            <a:custGeom>
              <a:avLst/>
              <a:gdLst>
                <a:gd name="connsiteX0" fmla="*/ 3195143 w 3335066"/>
                <a:gd name="connsiteY0" fmla="*/ 59533 h 224427"/>
                <a:gd name="connsiteX1" fmla="*/ 3164869 w 3335066"/>
                <a:gd name="connsiteY1" fmla="*/ 92131 h 224427"/>
                <a:gd name="connsiteX2" fmla="*/ 3162307 w 3335066"/>
                <a:gd name="connsiteY2" fmla="*/ 94991 h 224427"/>
                <a:gd name="connsiteX3" fmla="*/ 3096516 w 3335066"/>
                <a:gd name="connsiteY3" fmla="*/ 157445 h 224427"/>
                <a:gd name="connsiteX4" fmla="*/ 2997711 w 3335066"/>
                <a:gd name="connsiteY4" fmla="*/ 186467 h 224427"/>
                <a:gd name="connsiteX5" fmla="*/ 2996876 w 3335066"/>
                <a:gd name="connsiteY5" fmla="*/ 186467 h 224427"/>
                <a:gd name="connsiteX6" fmla="*/ 2862732 w 3335066"/>
                <a:gd name="connsiteY6" fmla="*/ 128185 h 224427"/>
                <a:gd name="connsiteX7" fmla="*/ 2830910 w 3335066"/>
                <a:gd name="connsiteY7" fmla="*/ 93919 h 224427"/>
                <a:gd name="connsiteX8" fmla="*/ 2762437 w 3335066"/>
                <a:gd name="connsiteY8" fmla="*/ 29201 h 224427"/>
                <a:gd name="connsiteX9" fmla="*/ 2664645 w 3335066"/>
                <a:gd name="connsiteY9" fmla="*/ 119 h 224427"/>
                <a:gd name="connsiteX10" fmla="*/ 2530620 w 3335066"/>
                <a:gd name="connsiteY10" fmla="*/ 59772 h 224427"/>
                <a:gd name="connsiteX11" fmla="*/ 2500347 w 3335066"/>
                <a:gd name="connsiteY11" fmla="*/ 92369 h 224427"/>
                <a:gd name="connsiteX12" fmla="*/ 2496652 w 3335066"/>
                <a:gd name="connsiteY12" fmla="*/ 96481 h 224427"/>
                <a:gd name="connsiteX13" fmla="*/ 2432053 w 3335066"/>
                <a:gd name="connsiteY13" fmla="*/ 157445 h 224427"/>
                <a:gd name="connsiteX14" fmla="*/ 2333248 w 3335066"/>
                <a:gd name="connsiteY14" fmla="*/ 186467 h 224427"/>
                <a:gd name="connsiteX15" fmla="*/ 2332413 w 3335066"/>
                <a:gd name="connsiteY15" fmla="*/ 186467 h 224427"/>
                <a:gd name="connsiteX16" fmla="*/ 2198150 w 3335066"/>
                <a:gd name="connsiteY16" fmla="*/ 128185 h 224427"/>
                <a:gd name="connsiteX17" fmla="*/ 2170201 w 3335066"/>
                <a:gd name="connsiteY17" fmla="*/ 98269 h 224427"/>
                <a:gd name="connsiteX18" fmla="*/ 2166208 w 3335066"/>
                <a:gd name="connsiteY18" fmla="*/ 93859 h 224427"/>
                <a:gd name="connsiteX19" fmla="*/ 2097796 w 3335066"/>
                <a:gd name="connsiteY19" fmla="*/ 29141 h 224427"/>
                <a:gd name="connsiteX20" fmla="*/ 1999884 w 3335066"/>
                <a:gd name="connsiteY20" fmla="*/ 60 h 224427"/>
                <a:gd name="connsiteX21" fmla="*/ 1865621 w 3335066"/>
                <a:gd name="connsiteY21" fmla="*/ 59712 h 224427"/>
                <a:gd name="connsiteX22" fmla="*/ 1833679 w 3335066"/>
                <a:gd name="connsiteY22" fmla="*/ 93978 h 224427"/>
                <a:gd name="connsiteX23" fmla="*/ 1832308 w 3335066"/>
                <a:gd name="connsiteY23" fmla="*/ 95528 h 224427"/>
                <a:gd name="connsiteX24" fmla="*/ 1766875 w 3335066"/>
                <a:gd name="connsiteY24" fmla="*/ 157445 h 224427"/>
                <a:gd name="connsiteX25" fmla="*/ 1667951 w 3335066"/>
                <a:gd name="connsiteY25" fmla="*/ 186467 h 224427"/>
                <a:gd name="connsiteX26" fmla="*/ 1667116 w 3335066"/>
                <a:gd name="connsiteY26" fmla="*/ 186467 h 224427"/>
                <a:gd name="connsiteX27" fmla="*/ 1532972 w 3335066"/>
                <a:gd name="connsiteY27" fmla="*/ 128185 h 224427"/>
                <a:gd name="connsiteX28" fmla="*/ 1501150 w 3335066"/>
                <a:gd name="connsiteY28" fmla="*/ 93919 h 224427"/>
                <a:gd name="connsiteX29" fmla="*/ 1432797 w 3335066"/>
                <a:gd name="connsiteY29" fmla="*/ 29141 h 224427"/>
                <a:gd name="connsiteX30" fmla="*/ 1334885 w 3335066"/>
                <a:gd name="connsiteY30" fmla="*/ 60 h 224427"/>
                <a:gd name="connsiteX31" fmla="*/ 1200860 w 3335066"/>
                <a:gd name="connsiteY31" fmla="*/ 59712 h 224427"/>
                <a:gd name="connsiteX32" fmla="*/ 1168918 w 3335066"/>
                <a:gd name="connsiteY32" fmla="*/ 94038 h 224427"/>
                <a:gd name="connsiteX33" fmla="*/ 1168024 w 3335066"/>
                <a:gd name="connsiteY33" fmla="*/ 95051 h 224427"/>
                <a:gd name="connsiteX34" fmla="*/ 1102234 w 3335066"/>
                <a:gd name="connsiteY34" fmla="*/ 157564 h 224427"/>
                <a:gd name="connsiteX35" fmla="*/ 1003428 w 3335066"/>
                <a:gd name="connsiteY35" fmla="*/ 186586 h 224427"/>
                <a:gd name="connsiteX36" fmla="*/ 1002594 w 3335066"/>
                <a:gd name="connsiteY36" fmla="*/ 186586 h 224427"/>
                <a:gd name="connsiteX37" fmla="*/ 868569 w 3335066"/>
                <a:gd name="connsiteY37" fmla="*/ 128304 h 224427"/>
                <a:gd name="connsiteX38" fmla="*/ 836746 w 3335066"/>
                <a:gd name="connsiteY38" fmla="*/ 94038 h 224427"/>
                <a:gd name="connsiteX39" fmla="*/ 768274 w 3335066"/>
                <a:gd name="connsiteY39" fmla="*/ 29320 h 224427"/>
                <a:gd name="connsiteX40" fmla="*/ 670482 w 3335066"/>
                <a:gd name="connsiteY40" fmla="*/ 239 h 224427"/>
                <a:gd name="connsiteX41" fmla="*/ 536457 w 3335066"/>
                <a:gd name="connsiteY41" fmla="*/ 59891 h 224427"/>
                <a:gd name="connsiteX42" fmla="*/ 506184 w 3335066"/>
                <a:gd name="connsiteY42" fmla="*/ 92489 h 224427"/>
                <a:gd name="connsiteX43" fmla="*/ 503681 w 3335066"/>
                <a:gd name="connsiteY43" fmla="*/ 95230 h 224427"/>
                <a:gd name="connsiteX44" fmla="*/ 437830 w 3335066"/>
                <a:gd name="connsiteY44" fmla="*/ 157803 h 224427"/>
                <a:gd name="connsiteX45" fmla="*/ 339025 w 3335066"/>
                <a:gd name="connsiteY45" fmla="*/ 186825 h 224427"/>
                <a:gd name="connsiteX46" fmla="*/ 338191 w 3335066"/>
                <a:gd name="connsiteY46" fmla="*/ 186825 h 224427"/>
                <a:gd name="connsiteX47" fmla="*/ 204166 w 3335066"/>
                <a:gd name="connsiteY47" fmla="*/ 128542 h 224427"/>
                <a:gd name="connsiteX48" fmla="*/ 172343 w 3335066"/>
                <a:gd name="connsiteY48" fmla="*/ 94276 h 224427"/>
                <a:gd name="connsiteX49" fmla="*/ 103871 w 3335066"/>
                <a:gd name="connsiteY49" fmla="*/ 29558 h 224427"/>
                <a:gd name="connsiteX50" fmla="*/ 6138 w 3335066"/>
                <a:gd name="connsiteY50" fmla="*/ 477 h 224427"/>
                <a:gd name="connsiteX51" fmla="*/ 179 w 3335066"/>
                <a:gd name="connsiteY51" fmla="*/ 477 h 224427"/>
                <a:gd name="connsiteX52" fmla="*/ 0 w 3335066"/>
                <a:gd name="connsiteY52" fmla="*/ 37484 h 224427"/>
                <a:gd name="connsiteX53" fmla="*/ 5959 w 3335066"/>
                <a:gd name="connsiteY53" fmla="*/ 37484 h 224427"/>
                <a:gd name="connsiteX54" fmla="*/ 83669 w 3335066"/>
                <a:gd name="connsiteY54" fmla="*/ 60487 h 224427"/>
                <a:gd name="connsiteX55" fmla="*/ 143500 w 3335066"/>
                <a:gd name="connsiteY55" fmla="*/ 117518 h 224427"/>
                <a:gd name="connsiteX56" fmla="*/ 148208 w 3335066"/>
                <a:gd name="connsiteY56" fmla="*/ 122762 h 224427"/>
                <a:gd name="connsiteX57" fmla="*/ 178243 w 3335066"/>
                <a:gd name="connsiteY57" fmla="*/ 154942 h 224427"/>
                <a:gd name="connsiteX58" fmla="*/ 337893 w 3335066"/>
                <a:gd name="connsiteY58" fmla="*/ 223832 h 224427"/>
                <a:gd name="connsiteX59" fmla="*/ 338846 w 3335066"/>
                <a:gd name="connsiteY59" fmla="*/ 223832 h 224427"/>
                <a:gd name="connsiteX60" fmla="*/ 457913 w 3335066"/>
                <a:gd name="connsiteY60" fmla="*/ 188553 h 224427"/>
                <a:gd name="connsiteX61" fmla="*/ 531332 w 3335066"/>
                <a:gd name="connsiteY61" fmla="*/ 119186 h 224427"/>
                <a:gd name="connsiteX62" fmla="*/ 534609 w 3335066"/>
                <a:gd name="connsiteY62" fmla="*/ 115491 h 224427"/>
                <a:gd name="connsiteX63" fmla="*/ 561545 w 3335066"/>
                <a:gd name="connsiteY63" fmla="*/ 86589 h 224427"/>
                <a:gd name="connsiteX64" fmla="*/ 670303 w 3335066"/>
                <a:gd name="connsiteY64" fmla="*/ 37484 h 224427"/>
                <a:gd name="connsiteX65" fmla="*/ 748012 w 3335066"/>
                <a:gd name="connsiteY65" fmla="*/ 60487 h 224427"/>
                <a:gd name="connsiteX66" fmla="*/ 807844 w 3335066"/>
                <a:gd name="connsiteY66" fmla="*/ 117637 h 224427"/>
                <a:gd name="connsiteX67" fmla="*/ 810883 w 3335066"/>
                <a:gd name="connsiteY67" fmla="*/ 121034 h 224427"/>
                <a:gd name="connsiteX68" fmla="*/ 842646 w 3335066"/>
                <a:gd name="connsiteY68" fmla="*/ 155061 h 224427"/>
                <a:gd name="connsiteX69" fmla="*/ 1002475 w 3335066"/>
                <a:gd name="connsiteY69" fmla="*/ 223951 h 224427"/>
                <a:gd name="connsiteX70" fmla="*/ 1122257 w 3335066"/>
                <a:gd name="connsiteY70" fmla="*/ 188672 h 224427"/>
                <a:gd name="connsiteX71" fmla="*/ 1195675 w 3335066"/>
                <a:gd name="connsiteY71" fmla="*/ 119246 h 224427"/>
                <a:gd name="connsiteX72" fmla="*/ 1225770 w 3335066"/>
                <a:gd name="connsiteY72" fmla="*/ 86708 h 224427"/>
                <a:gd name="connsiteX73" fmla="*/ 1334408 w 3335066"/>
                <a:gd name="connsiteY73" fmla="*/ 37603 h 224427"/>
                <a:gd name="connsiteX74" fmla="*/ 1412118 w 3335066"/>
                <a:gd name="connsiteY74" fmla="*/ 60606 h 224427"/>
                <a:gd name="connsiteX75" fmla="*/ 1472605 w 3335066"/>
                <a:gd name="connsiteY75" fmla="*/ 118411 h 224427"/>
                <a:gd name="connsiteX76" fmla="*/ 1476717 w 3335066"/>
                <a:gd name="connsiteY76" fmla="*/ 123000 h 224427"/>
                <a:gd name="connsiteX77" fmla="*/ 1506692 w 3335066"/>
                <a:gd name="connsiteY77" fmla="*/ 155121 h 224427"/>
                <a:gd name="connsiteX78" fmla="*/ 1666341 w 3335066"/>
                <a:gd name="connsiteY78" fmla="*/ 224011 h 224427"/>
                <a:gd name="connsiteX79" fmla="*/ 1667295 w 3335066"/>
                <a:gd name="connsiteY79" fmla="*/ 224011 h 224427"/>
                <a:gd name="connsiteX80" fmla="*/ 1786720 w 3335066"/>
                <a:gd name="connsiteY80" fmla="*/ 188731 h 224427"/>
                <a:gd name="connsiteX81" fmla="*/ 1860258 w 3335066"/>
                <a:gd name="connsiteY81" fmla="*/ 119365 h 224427"/>
                <a:gd name="connsiteX82" fmla="*/ 1863595 w 3335066"/>
                <a:gd name="connsiteY82" fmla="*/ 115611 h 224427"/>
                <a:gd name="connsiteX83" fmla="*/ 1890471 w 3335066"/>
                <a:gd name="connsiteY83" fmla="*/ 86768 h 224427"/>
                <a:gd name="connsiteX84" fmla="*/ 1999348 w 3335066"/>
                <a:gd name="connsiteY84" fmla="*/ 37663 h 224427"/>
                <a:gd name="connsiteX85" fmla="*/ 2077176 w 3335066"/>
                <a:gd name="connsiteY85" fmla="*/ 60666 h 224427"/>
                <a:gd name="connsiteX86" fmla="*/ 2138736 w 3335066"/>
                <a:gd name="connsiteY86" fmla="*/ 119544 h 224427"/>
                <a:gd name="connsiteX87" fmla="*/ 2143742 w 3335066"/>
                <a:gd name="connsiteY87" fmla="*/ 125086 h 224427"/>
                <a:gd name="connsiteX88" fmla="*/ 2171989 w 3335066"/>
                <a:gd name="connsiteY88" fmla="*/ 155181 h 224427"/>
                <a:gd name="connsiteX89" fmla="*/ 2331758 w 3335066"/>
                <a:gd name="connsiteY89" fmla="*/ 224070 h 224427"/>
                <a:gd name="connsiteX90" fmla="*/ 2332711 w 3335066"/>
                <a:gd name="connsiteY90" fmla="*/ 224070 h 224427"/>
                <a:gd name="connsiteX91" fmla="*/ 2451779 w 3335066"/>
                <a:gd name="connsiteY91" fmla="*/ 188791 h 224427"/>
                <a:gd name="connsiteX92" fmla="*/ 2525197 w 3335066"/>
                <a:gd name="connsiteY92" fmla="*/ 119544 h 224427"/>
                <a:gd name="connsiteX93" fmla="*/ 2530024 w 3335066"/>
                <a:gd name="connsiteY93" fmla="*/ 114181 h 224427"/>
                <a:gd name="connsiteX94" fmla="*/ 2555470 w 3335066"/>
                <a:gd name="connsiteY94" fmla="*/ 87006 h 224427"/>
                <a:gd name="connsiteX95" fmla="*/ 2664228 w 3335066"/>
                <a:gd name="connsiteY95" fmla="*/ 37901 h 224427"/>
                <a:gd name="connsiteX96" fmla="*/ 2741937 w 3335066"/>
                <a:gd name="connsiteY96" fmla="*/ 60904 h 224427"/>
                <a:gd name="connsiteX97" fmla="*/ 2801769 w 3335066"/>
                <a:gd name="connsiteY97" fmla="*/ 118054 h 224427"/>
                <a:gd name="connsiteX98" fmla="*/ 2806536 w 3335066"/>
                <a:gd name="connsiteY98" fmla="*/ 123358 h 224427"/>
                <a:gd name="connsiteX99" fmla="*/ 2836571 w 3335066"/>
                <a:gd name="connsiteY99" fmla="*/ 155538 h 224427"/>
                <a:gd name="connsiteX100" fmla="*/ 2996221 w 3335066"/>
                <a:gd name="connsiteY100" fmla="*/ 224428 h 224427"/>
                <a:gd name="connsiteX101" fmla="*/ 2997174 w 3335066"/>
                <a:gd name="connsiteY101" fmla="*/ 224428 h 224427"/>
                <a:gd name="connsiteX102" fmla="*/ 3116241 w 3335066"/>
                <a:gd name="connsiteY102" fmla="*/ 189148 h 224427"/>
                <a:gd name="connsiteX103" fmla="*/ 3189660 w 3335066"/>
                <a:gd name="connsiteY103" fmla="*/ 119782 h 224427"/>
                <a:gd name="connsiteX104" fmla="*/ 3194427 w 3335066"/>
                <a:gd name="connsiteY104" fmla="*/ 114419 h 224427"/>
                <a:gd name="connsiteX105" fmla="*/ 3219873 w 3335066"/>
                <a:gd name="connsiteY105" fmla="*/ 87185 h 224427"/>
                <a:gd name="connsiteX106" fmla="*/ 3219873 w 3335066"/>
                <a:gd name="connsiteY106" fmla="*/ 87185 h 224427"/>
                <a:gd name="connsiteX107" fmla="*/ 3329227 w 3335066"/>
                <a:gd name="connsiteY107" fmla="*/ 37007 h 224427"/>
                <a:gd name="connsiteX108" fmla="*/ 3335067 w 3335066"/>
                <a:gd name="connsiteY108" fmla="*/ 36888 h 224427"/>
                <a:gd name="connsiteX109" fmla="*/ 3335067 w 3335066"/>
                <a:gd name="connsiteY109" fmla="*/ 0 h 224427"/>
                <a:gd name="connsiteX110" fmla="*/ 3329108 w 3335066"/>
                <a:gd name="connsiteY110" fmla="*/ 0 h 224427"/>
                <a:gd name="connsiteX111" fmla="*/ 3195143 w 3335066"/>
                <a:gd name="connsiteY111" fmla="*/ 59533 h 22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335066" h="224427">
                  <a:moveTo>
                    <a:pt x="3195143" y="59533"/>
                  </a:moveTo>
                  <a:cubicBezTo>
                    <a:pt x="3184714" y="69903"/>
                    <a:pt x="3174583" y="81225"/>
                    <a:pt x="3164869" y="92131"/>
                  </a:cubicBezTo>
                  <a:lnTo>
                    <a:pt x="3162307" y="94991"/>
                  </a:lnTo>
                  <a:cubicBezTo>
                    <a:pt x="3142581" y="117160"/>
                    <a:pt x="3122201" y="140103"/>
                    <a:pt x="3096516" y="157445"/>
                  </a:cubicBezTo>
                  <a:cubicBezTo>
                    <a:pt x="3068150" y="176694"/>
                    <a:pt x="3034897" y="186467"/>
                    <a:pt x="2997711" y="186467"/>
                  </a:cubicBezTo>
                  <a:lnTo>
                    <a:pt x="2996876" y="186467"/>
                  </a:lnTo>
                  <a:cubicBezTo>
                    <a:pt x="2929655" y="186467"/>
                    <a:pt x="2889847" y="155300"/>
                    <a:pt x="2862732" y="128185"/>
                  </a:cubicBezTo>
                  <a:cubicBezTo>
                    <a:pt x="2851410" y="116803"/>
                    <a:pt x="2840504" y="104645"/>
                    <a:pt x="2830910" y="93919"/>
                  </a:cubicBezTo>
                  <a:cubicBezTo>
                    <a:pt x="2809158" y="69605"/>
                    <a:pt x="2788598" y="46661"/>
                    <a:pt x="2762437" y="29201"/>
                  </a:cubicBezTo>
                  <a:cubicBezTo>
                    <a:pt x="2732462" y="9178"/>
                    <a:pt x="2702308" y="239"/>
                    <a:pt x="2664645" y="119"/>
                  </a:cubicBezTo>
                  <a:cubicBezTo>
                    <a:pt x="2600046" y="358"/>
                    <a:pt x="2562026" y="28903"/>
                    <a:pt x="2530620" y="59772"/>
                  </a:cubicBezTo>
                  <a:cubicBezTo>
                    <a:pt x="2520191" y="70141"/>
                    <a:pt x="2510060" y="81464"/>
                    <a:pt x="2500347" y="92369"/>
                  </a:cubicBezTo>
                  <a:lnTo>
                    <a:pt x="2496652" y="96481"/>
                  </a:lnTo>
                  <a:cubicBezTo>
                    <a:pt x="2477284" y="118054"/>
                    <a:pt x="2457201" y="140401"/>
                    <a:pt x="2432053" y="157445"/>
                  </a:cubicBezTo>
                  <a:cubicBezTo>
                    <a:pt x="2403687" y="176694"/>
                    <a:pt x="2370434" y="186467"/>
                    <a:pt x="2333248" y="186467"/>
                  </a:cubicBezTo>
                  <a:lnTo>
                    <a:pt x="2332413" y="186467"/>
                  </a:lnTo>
                  <a:cubicBezTo>
                    <a:pt x="2265073" y="186467"/>
                    <a:pt x="2225265" y="155300"/>
                    <a:pt x="2198150" y="128185"/>
                  </a:cubicBezTo>
                  <a:cubicBezTo>
                    <a:pt x="2188496" y="118590"/>
                    <a:pt x="2179200" y="108281"/>
                    <a:pt x="2170201" y="98269"/>
                  </a:cubicBezTo>
                  <a:lnTo>
                    <a:pt x="2166208" y="93859"/>
                  </a:lnTo>
                  <a:cubicBezTo>
                    <a:pt x="2144397" y="69486"/>
                    <a:pt x="2123778" y="46423"/>
                    <a:pt x="2097796" y="29141"/>
                  </a:cubicBezTo>
                  <a:cubicBezTo>
                    <a:pt x="2067701" y="9118"/>
                    <a:pt x="2037487" y="179"/>
                    <a:pt x="1999884" y="60"/>
                  </a:cubicBezTo>
                  <a:cubicBezTo>
                    <a:pt x="1935285" y="298"/>
                    <a:pt x="1897146" y="28843"/>
                    <a:pt x="1865621" y="59712"/>
                  </a:cubicBezTo>
                  <a:cubicBezTo>
                    <a:pt x="1854298" y="70976"/>
                    <a:pt x="1843333" y="83192"/>
                    <a:pt x="1833679" y="93978"/>
                  </a:cubicBezTo>
                  <a:lnTo>
                    <a:pt x="1832308" y="95528"/>
                  </a:lnTo>
                  <a:cubicBezTo>
                    <a:pt x="1812702" y="117518"/>
                    <a:pt x="1792381" y="140223"/>
                    <a:pt x="1766875" y="157445"/>
                  </a:cubicBezTo>
                  <a:cubicBezTo>
                    <a:pt x="1738449" y="176694"/>
                    <a:pt x="1705196" y="186467"/>
                    <a:pt x="1667951" y="186467"/>
                  </a:cubicBezTo>
                  <a:lnTo>
                    <a:pt x="1667116" y="186467"/>
                  </a:lnTo>
                  <a:cubicBezTo>
                    <a:pt x="1599895" y="186467"/>
                    <a:pt x="1560147" y="155300"/>
                    <a:pt x="1532972" y="128185"/>
                  </a:cubicBezTo>
                  <a:cubicBezTo>
                    <a:pt x="1521590" y="116743"/>
                    <a:pt x="1510744" y="104645"/>
                    <a:pt x="1501150" y="93919"/>
                  </a:cubicBezTo>
                  <a:cubicBezTo>
                    <a:pt x="1480530" y="70737"/>
                    <a:pt x="1459196" y="46840"/>
                    <a:pt x="1432797" y="29141"/>
                  </a:cubicBezTo>
                  <a:cubicBezTo>
                    <a:pt x="1402702" y="9118"/>
                    <a:pt x="1372488" y="179"/>
                    <a:pt x="1334885" y="60"/>
                  </a:cubicBezTo>
                  <a:cubicBezTo>
                    <a:pt x="1270286" y="298"/>
                    <a:pt x="1232266" y="28843"/>
                    <a:pt x="1200860" y="59712"/>
                  </a:cubicBezTo>
                  <a:cubicBezTo>
                    <a:pt x="1189597" y="70916"/>
                    <a:pt x="1178632" y="83192"/>
                    <a:pt x="1168918" y="94038"/>
                  </a:cubicBezTo>
                  <a:lnTo>
                    <a:pt x="1168024" y="95051"/>
                  </a:lnTo>
                  <a:cubicBezTo>
                    <a:pt x="1148299" y="117219"/>
                    <a:pt x="1127918" y="140163"/>
                    <a:pt x="1102234" y="157564"/>
                  </a:cubicBezTo>
                  <a:cubicBezTo>
                    <a:pt x="1073808" y="176813"/>
                    <a:pt x="1040614" y="186586"/>
                    <a:pt x="1003428" y="186586"/>
                  </a:cubicBezTo>
                  <a:lnTo>
                    <a:pt x="1002594" y="186586"/>
                  </a:lnTo>
                  <a:cubicBezTo>
                    <a:pt x="935492" y="186586"/>
                    <a:pt x="895684" y="155419"/>
                    <a:pt x="868569" y="128304"/>
                  </a:cubicBezTo>
                  <a:cubicBezTo>
                    <a:pt x="857246" y="116922"/>
                    <a:pt x="846341" y="104765"/>
                    <a:pt x="836746" y="94038"/>
                  </a:cubicBezTo>
                  <a:cubicBezTo>
                    <a:pt x="815948" y="70797"/>
                    <a:pt x="794435" y="46781"/>
                    <a:pt x="768274" y="29320"/>
                  </a:cubicBezTo>
                  <a:cubicBezTo>
                    <a:pt x="738299" y="9297"/>
                    <a:pt x="708144" y="358"/>
                    <a:pt x="670482" y="239"/>
                  </a:cubicBezTo>
                  <a:cubicBezTo>
                    <a:pt x="605883" y="477"/>
                    <a:pt x="567863" y="29022"/>
                    <a:pt x="536457" y="59891"/>
                  </a:cubicBezTo>
                  <a:cubicBezTo>
                    <a:pt x="526028" y="70260"/>
                    <a:pt x="515897" y="81583"/>
                    <a:pt x="506184" y="92489"/>
                  </a:cubicBezTo>
                  <a:lnTo>
                    <a:pt x="503681" y="95230"/>
                  </a:lnTo>
                  <a:cubicBezTo>
                    <a:pt x="483955" y="117398"/>
                    <a:pt x="463575" y="140342"/>
                    <a:pt x="437830" y="157803"/>
                  </a:cubicBezTo>
                  <a:cubicBezTo>
                    <a:pt x="409464" y="177051"/>
                    <a:pt x="376211" y="186825"/>
                    <a:pt x="339025" y="186825"/>
                  </a:cubicBezTo>
                  <a:lnTo>
                    <a:pt x="338191" y="186825"/>
                  </a:lnTo>
                  <a:cubicBezTo>
                    <a:pt x="271029" y="186825"/>
                    <a:pt x="231281" y="155657"/>
                    <a:pt x="204166" y="128542"/>
                  </a:cubicBezTo>
                  <a:cubicBezTo>
                    <a:pt x="192903" y="117279"/>
                    <a:pt x="181997" y="105063"/>
                    <a:pt x="172343" y="94276"/>
                  </a:cubicBezTo>
                  <a:cubicBezTo>
                    <a:pt x="150592" y="69962"/>
                    <a:pt x="130032" y="47019"/>
                    <a:pt x="103871" y="29558"/>
                  </a:cubicBezTo>
                  <a:cubicBezTo>
                    <a:pt x="73776" y="9535"/>
                    <a:pt x="43622" y="596"/>
                    <a:pt x="6138" y="477"/>
                  </a:cubicBezTo>
                  <a:lnTo>
                    <a:pt x="179" y="477"/>
                  </a:lnTo>
                  <a:lnTo>
                    <a:pt x="0" y="37484"/>
                  </a:lnTo>
                  <a:lnTo>
                    <a:pt x="5959" y="37484"/>
                  </a:lnTo>
                  <a:cubicBezTo>
                    <a:pt x="35815" y="37484"/>
                    <a:pt x="59772" y="44576"/>
                    <a:pt x="83669" y="60487"/>
                  </a:cubicBezTo>
                  <a:cubicBezTo>
                    <a:pt x="105122" y="74849"/>
                    <a:pt x="123775" y="95588"/>
                    <a:pt x="143500" y="117518"/>
                  </a:cubicBezTo>
                  <a:lnTo>
                    <a:pt x="148208" y="122762"/>
                  </a:lnTo>
                  <a:cubicBezTo>
                    <a:pt x="157743" y="133429"/>
                    <a:pt x="167635" y="144454"/>
                    <a:pt x="178243" y="154942"/>
                  </a:cubicBezTo>
                  <a:cubicBezTo>
                    <a:pt x="207801" y="184500"/>
                    <a:pt x="256489" y="223832"/>
                    <a:pt x="337893" y="223832"/>
                  </a:cubicBezTo>
                  <a:lnTo>
                    <a:pt x="338846" y="223832"/>
                  </a:lnTo>
                  <a:cubicBezTo>
                    <a:pt x="383303" y="223832"/>
                    <a:pt x="423349" y="211973"/>
                    <a:pt x="457913" y="188553"/>
                  </a:cubicBezTo>
                  <a:cubicBezTo>
                    <a:pt x="487591" y="168350"/>
                    <a:pt x="509700" y="143441"/>
                    <a:pt x="531332" y="119186"/>
                  </a:cubicBezTo>
                  <a:lnTo>
                    <a:pt x="534609" y="115491"/>
                  </a:lnTo>
                  <a:cubicBezTo>
                    <a:pt x="543787" y="105242"/>
                    <a:pt x="552487" y="95528"/>
                    <a:pt x="561545" y="86589"/>
                  </a:cubicBezTo>
                  <a:cubicBezTo>
                    <a:pt x="591640" y="57210"/>
                    <a:pt x="621615" y="37603"/>
                    <a:pt x="670303" y="37484"/>
                  </a:cubicBezTo>
                  <a:cubicBezTo>
                    <a:pt x="700576" y="37603"/>
                    <a:pt x="723817" y="44457"/>
                    <a:pt x="748012" y="60487"/>
                  </a:cubicBezTo>
                  <a:cubicBezTo>
                    <a:pt x="769466" y="74968"/>
                    <a:pt x="788118" y="95706"/>
                    <a:pt x="807844" y="117637"/>
                  </a:cubicBezTo>
                  <a:lnTo>
                    <a:pt x="810883" y="121034"/>
                  </a:lnTo>
                  <a:cubicBezTo>
                    <a:pt x="821014" y="132297"/>
                    <a:pt x="831502" y="143977"/>
                    <a:pt x="842646" y="155061"/>
                  </a:cubicBezTo>
                  <a:cubicBezTo>
                    <a:pt x="872204" y="184620"/>
                    <a:pt x="920892" y="223951"/>
                    <a:pt x="1002475" y="223951"/>
                  </a:cubicBezTo>
                  <a:cubicBezTo>
                    <a:pt x="1047527" y="224189"/>
                    <a:pt x="1087574" y="212211"/>
                    <a:pt x="1122257" y="188672"/>
                  </a:cubicBezTo>
                  <a:cubicBezTo>
                    <a:pt x="1151934" y="168470"/>
                    <a:pt x="1174103" y="143560"/>
                    <a:pt x="1195675" y="119246"/>
                  </a:cubicBezTo>
                  <a:cubicBezTo>
                    <a:pt x="1205151" y="108400"/>
                    <a:pt x="1215282" y="97018"/>
                    <a:pt x="1225770" y="86708"/>
                  </a:cubicBezTo>
                  <a:cubicBezTo>
                    <a:pt x="1255805" y="57329"/>
                    <a:pt x="1285840" y="37723"/>
                    <a:pt x="1334408" y="37603"/>
                  </a:cubicBezTo>
                  <a:cubicBezTo>
                    <a:pt x="1364264" y="37723"/>
                    <a:pt x="1388280" y="44814"/>
                    <a:pt x="1412118" y="60606"/>
                  </a:cubicBezTo>
                  <a:cubicBezTo>
                    <a:pt x="1433810" y="75266"/>
                    <a:pt x="1452700" y="96243"/>
                    <a:pt x="1472605" y="118411"/>
                  </a:cubicBezTo>
                  <a:lnTo>
                    <a:pt x="1476717" y="123000"/>
                  </a:lnTo>
                  <a:cubicBezTo>
                    <a:pt x="1486251" y="133667"/>
                    <a:pt x="1496084" y="144692"/>
                    <a:pt x="1506692" y="155121"/>
                  </a:cubicBezTo>
                  <a:cubicBezTo>
                    <a:pt x="1536250" y="184679"/>
                    <a:pt x="1584937" y="224011"/>
                    <a:pt x="1666341" y="224011"/>
                  </a:cubicBezTo>
                  <a:lnTo>
                    <a:pt x="1667295" y="224011"/>
                  </a:lnTo>
                  <a:cubicBezTo>
                    <a:pt x="1711871" y="224011"/>
                    <a:pt x="1752036" y="212152"/>
                    <a:pt x="1786720" y="188731"/>
                  </a:cubicBezTo>
                  <a:cubicBezTo>
                    <a:pt x="1816695" y="168350"/>
                    <a:pt x="1838804" y="143441"/>
                    <a:pt x="1860258" y="119365"/>
                  </a:cubicBezTo>
                  <a:lnTo>
                    <a:pt x="1863595" y="115611"/>
                  </a:lnTo>
                  <a:cubicBezTo>
                    <a:pt x="1872772" y="105361"/>
                    <a:pt x="1881413" y="95647"/>
                    <a:pt x="1890471" y="86768"/>
                  </a:cubicBezTo>
                  <a:cubicBezTo>
                    <a:pt x="1920566" y="57388"/>
                    <a:pt x="1950541" y="37782"/>
                    <a:pt x="1999348" y="37663"/>
                  </a:cubicBezTo>
                  <a:cubicBezTo>
                    <a:pt x="2029323" y="37782"/>
                    <a:pt x="2053339" y="44874"/>
                    <a:pt x="2077176" y="60666"/>
                  </a:cubicBezTo>
                  <a:cubicBezTo>
                    <a:pt x="2099524" y="75683"/>
                    <a:pt x="2118593" y="96958"/>
                    <a:pt x="2138736" y="119544"/>
                  </a:cubicBezTo>
                  <a:lnTo>
                    <a:pt x="2143742" y="125086"/>
                  </a:lnTo>
                  <a:cubicBezTo>
                    <a:pt x="2152741" y="135038"/>
                    <a:pt x="2162037" y="145407"/>
                    <a:pt x="2171989" y="155181"/>
                  </a:cubicBezTo>
                  <a:cubicBezTo>
                    <a:pt x="2201547" y="184739"/>
                    <a:pt x="2250294" y="224070"/>
                    <a:pt x="2331758" y="224070"/>
                  </a:cubicBezTo>
                  <a:lnTo>
                    <a:pt x="2332711" y="224070"/>
                  </a:lnTo>
                  <a:cubicBezTo>
                    <a:pt x="2377168" y="224070"/>
                    <a:pt x="2417214" y="212211"/>
                    <a:pt x="2451779" y="188791"/>
                  </a:cubicBezTo>
                  <a:cubicBezTo>
                    <a:pt x="2481456" y="168708"/>
                    <a:pt x="2503624" y="143798"/>
                    <a:pt x="2525197" y="119544"/>
                  </a:cubicBezTo>
                  <a:lnTo>
                    <a:pt x="2530024" y="114181"/>
                  </a:lnTo>
                  <a:cubicBezTo>
                    <a:pt x="2538665" y="104526"/>
                    <a:pt x="2546770" y="95409"/>
                    <a:pt x="2555470" y="87006"/>
                  </a:cubicBezTo>
                  <a:cubicBezTo>
                    <a:pt x="2585565" y="57626"/>
                    <a:pt x="2615540" y="38020"/>
                    <a:pt x="2664228" y="37901"/>
                  </a:cubicBezTo>
                  <a:cubicBezTo>
                    <a:pt x="2694501" y="38020"/>
                    <a:pt x="2717742" y="44874"/>
                    <a:pt x="2741937" y="60904"/>
                  </a:cubicBezTo>
                  <a:cubicBezTo>
                    <a:pt x="2763391" y="75385"/>
                    <a:pt x="2782043" y="96124"/>
                    <a:pt x="2801769" y="118054"/>
                  </a:cubicBezTo>
                  <a:lnTo>
                    <a:pt x="2806536" y="123358"/>
                  </a:lnTo>
                  <a:cubicBezTo>
                    <a:pt x="2816071" y="134025"/>
                    <a:pt x="2825963" y="145050"/>
                    <a:pt x="2836571" y="155538"/>
                  </a:cubicBezTo>
                  <a:cubicBezTo>
                    <a:pt x="2866129" y="185096"/>
                    <a:pt x="2914816" y="224428"/>
                    <a:pt x="2996221" y="224428"/>
                  </a:cubicBezTo>
                  <a:lnTo>
                    <a:pt x="2997174" y="224428"/>
                  </a:lnTo>
                  <a:cubicBezTo>
                    <a:pt x="3041631" y="224428"/>
                    <a:pt x="3081677" y="212568"/>
                    <a:pt x="3116241" y="189148"/>
                  </a:cubicBezTo>
                  <a:cubicBezTo>
                    <a:pt x="3145919" y="168947"/>
                    <a:pt x="3168087" y="144036"/>
                    <a:pt x="3189660" y="119782"/>
                  </a:cubicBezTo>
                  <a:lnTo>
                    <a:pt x="3194427" y="114419"/>
                  </a:lnTo>
                  <a:cubicBezTo>
                    <a:pt x="3203069" y="104765"/>
                    <a:pt x="3211173" y="95647"/>
                    <a:pt x="3219873" y="87185"/>
                  </a:cubicBezTo>
                  <a:lnTo>
                    <a:pt x="3219873" y="87185"/>
                  </a:lnTo>
                  <a:cubicBezTo>
                    <a:pt x="3249968" y="57865"/>
                    <a:pt x="3280063" y="38140"/>
                    <a:pt x="3329227" y="37007"/>
                  </a:cubicBezTo>
                  <a:lnTo>
                    <a:pt x="3335067" y="36888"/>
                  </a:lnTo>
                  <a:lnTo>
                    <a:pt x="3335067" y="0"/>
                  </a:lnTo>
                  <a:lnTo>
                    <a:pt x="3329108" y="0"/>
                  </a:lnTo>
                  <a:cubicBezTo>
                    <a:pt x="3264568" y="119"/>
                    <a:pt x="3226607" y="28724"/>
                    <a:pt x="3195143" y="59533"/>
                  </a:cubicBezTo>
                  <a:close/>
                </a:path>
              </a:pathLst>
            </a:custGeom>
            <a:solidFill>
              <a:srgbClr val="13284C">
                <a:alpha val="66000"/>
              </a:srgbClr>
            </a:solidFill>
            <a:ln w="5958" cap="flat">
              <a:noFill/>
              <a:prstDash val="solid"/>
              <a:miter/>
            </a:ln>
          </p:spPr>
          <p:txBody>
            <a:bodyPr rtlCol="0" anchor="ctr">
              <a:normAutofit fontScale="25000" lnSpcReduction="20000"/>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ysClr val="windowText" lastClr="000000"/>
                </a:solidFill>
                <a:effectLst/>
                <a:uLnTx/>
                <a:uFillTx/>
                <a:ea typeface="+mn-ea"/>
              </a:endParaRPr>
            </a:p>
          </p:txBody>
        </p:sp>
        <p:pic>
          <p:nvPicPr>
            <p:cNvPr id="70" name="Picture 69" descr="An open computer sitting on top of a table&#10;&#10;Description automatically generated">
              <a:extLst>
                <a:ext uri="{FF2B5EF4-FFF2-40B4-BE49-F238E27FC236}">
                  <a16:creationId xmlns:a16="http://schemas.microsoft.com/office/drawing/2014/main" id="{CB79C4BF-E7C4-1B48-9023-F24B9B5247F4}"/>
                </a:ext>
              </a:extLst>
            </p:cNvPr>
            <p:cNvPicPr>
              <a:picLocks/>
            </p:cNvPicPr>
            <p:nvPr/>
          </p:nvPicPr>
          <p:blipFill rotWithShape="1">
            <a:blip r:embed="rId6" cstate="print">
              <a:extLst>
                <a:ext uri="{28A0092B-C50C-407E-A947-70E740481C1C}">
                  <a14:useLocalDpi xmlns:a14="http://schemas.microsoft.com/office/drawing/2010/main" val="0"/>
                </a:ext>
              </a:extLst>
            </a:blip>
            <a:srcRect l="20566" r="20746" b="84669"/>
            <a:stretch/>
          </p:blipFill>
          <p:spPr>
            <a:xfrm>
              <a:off x="5161750" y="1883585"/>
              <a:ext cx="1484232" cy="212647"/>
            </a:xfrm>
            <a:prstGeom prst="rect">
              <a:avLst/>
            </a:prstGeom>
          </p:spPr>
        </p:pic>
        <p:pic>
          <p:nvPicPr>
            <p:cNvPr id="71" name="Picture 70">
              <a:extLst>
                <a:ext uri="{FF2B5EF4-FFF2-40B4-BE49-F238E27FC236}">
                  <a16:creationId xmlns:a16="http://schemas.microsoft.com/office/drawing/2014/main" id="{8D00877D-910A-0F40-97AF-5D2D90A5F028}"/>
                </a:ext>
              </a:extLst>
            </p:cNvPr>
            <p:cNvPicPr>
              <a:picLocks noChangeAspect="1"/>
            </p:cNvPicPr>
            <p:nvPr/>
          </p:nvPicPr>
          <p:blipFill>
            <a:blip r:embed="rId7"/>
            <a:stretch>
              <a:fillRect/>
            </a:stretch>
          </p:blipFill>
          <p:spPr>
            <a:xfrm>
              <a:off x="5257988" y="1960509"/>
              <a:ext cx="1288819" cy="660535"/>
            </a:xfrm>
            <a:prstGeom prst="rect">
              <a:avLst/>
            </a:prstGeom>
          </p:spPr>
        </p:pic>
        <p:grpSp>
          <p:nvGrpSpPr>
            <p:cNvPr id="72" name="Group 71">
              <a:extLst>
                <a:ext uri="{FF2B5EF4-FFF2-40B4-BE49-F238E27FC236}">
                  <a16:creationId xmlns:a16="http://schemas.microsoft.com/office/drawing/2014/main" id="{872EA53F-4F1D-0143-9842-EBA4A25688E8}"/>
                </a:ext>
              </a:extLst>
            </p:cNvPr>
            <p:cNvGrpSpPr/>
            <p:nvPr/>
          </p:nvGrpSpPr>
          <p:grpSpPr>
            <a:xfrm>
              <a:off x="4373610" y="1918910"/>
              <a:ext cx="3194552" cy="2131326"/>
              <a:chOff x="528638" y="2524880"/>
              <a:chExt cx="4157662" cy="2702404"/>
            </a:xfrm>
          </p:grpSpPr>
          <p:sp>
            <p:nvSpPr>
              <p:cNvPr id="117" name="Rectangle: Rounded Corners 103">
                <a:extLst>
                  <a:ext uri="{FF2B5EF4-FFF2-40B4-BE49-F238E27FC236}">
                    <a16:creationId xmlns:a16="http://schemas.microsoft.com/office/drawing/2014/main" id="{2DE03F0E-888A-D74C-A6F0-ABF728051509}"/>
                  </a:ext>
                </a:extLst>
              </p:cNvPr>
              <p:cNvSpPr/>
              <p:nvPr/>
            </p:nvSpPr>
            <p:spPr>
              <a:xfrm>
                <a:off x="528638" y="4184577"/>
                <a:ext cx="4157662" cy="741422"/>
              </a:xfrm>
              <a:prstGeom prst="roundRect">
                <a:avLst>
                  <a:gd name="adj" fmla="val 20007"/>
                </a:avLst>
              </a:prstGeom>
              <a:noFill/>
              <a:ln w="34925" cap="flat" cmpd="sng" algn="ctr">
                <a:solidFill>
                  <a:srgbClr val="6EBE4A"/>
                </a:solidFill>
                <a:prstDash val="solid"/>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endParaRPr>
              </a:p>
            </p:txBody>
          </p:sp>
          <p:sp>
            <p:nvSpPr>
              <p:cNvPr id="118" name="TextBox 117">
                <a:extLst>
                  <a:ext uri="{FF2B5EF4-FFF2-40B4-BE49-F238E27FC236}">
                    <a16:creationId xmlns:a16="http://schemas.microsoft.com/office/drawing/2014/main" id="{EB887C15-C34E-CA48-812D-202B142718CF}"/>
                  </a:ext>
                </a:extLst>
              </p:cNvPr>
              <p:cNvSpPr txBox="1">
                <a:spLocks/>
              </p:cNvSpPr>
              <p:nvPr/>
            </p:nvSpPr>
            <p:spPr>
              <a:xfrm>
                <a:off x="1790015" y="5011840"/>
                <a:ext cx="1599231" cy="215444"/>
              </a:xfrm>
              <a:prstGeom prst="rect">
                <a:avLst/>
              </a:prstGeom>
              <a:noFill/>
            </p:spPr>
            <p:txBody>
              <a:bodyPr wrap="square" lIns="0" tIns="0" rIns="0" bIns="0" rtlCol="0" anchor="ctr">
                <a:normAutofit fontScale="77500" lnSpcReduction="20000"/>
              </a:bodyPr>
              <a:lstStyle/>
              <a:p>
                <a:pPr marL="0" marR="0" lvl="0" indent="0" algn="ctr" defTabSz="456974" eaLnBrk="1" fontAlgn="base" latinLnBrk="0" hangingPunct="1">
                  <a:lnSpc>
                    <a:spcPct val="100000"/>
                  </a:lnSpc>
                  <a:spcBef>
                    <a:spcPts val="100"/>
                  </a:spcBef>
                  <a:spcAft>
                    <a:spcPct val="0"/>
                  </a:spcAft>
                  <a:buClrTx/>
                  <a:buSzTx/>
                  <a:buFontTx/>
                  <a:buNone/>
                  <a:tabLst/>
                  <a:defRPr/>
                </a:pPr>
                <a:r>
                  <a:rPr kumimoji="0" lang="en-US" sz="1400" b="0" i="0" u="none" strike="noStrike" kern="0" cap="none" spc="0" normalizeH="0" baseline="0" noProof="0" dirty="0">
                    <a:ln>
                      <a:noFill/>
                    </a:ln>
                    <a:solidFill>
                      <a:srgbClr val="6EBE4A"/>
                    </a:solidFill>
                    <a:effectLst/>
                    <a:uLnTx/>
                    <a:uFillTx/>
                    <a:latin typeface="CiscoSansTT" panose="020B0503020201020303" pitchFamily="34" charset="0"/>
                    <a:ea typeface="ＭＳ Ｐゴシック" charset="0"/>
                    <a:cs typeface="CiscoSansTT" panose="020B0503020201020303" pitchFamily="34" charset="0"/>
                  </a:rPr>
                  <a:t>Your infrastructure</a:t>
                </a:r>
              </a:p>
            </p:txBody>
          </p:sp>
          <p:sp>
            <p:nvSpPr>
              <p:cNvPr id="119" name="TextBox 118">
                <a:extLst>
                  <a:ext uri="{FF2B5EF4-FFF2-40B4-BE49-F238E27FC236}">
                    <a16:creationId xmlns:a16="http://schemas.microsoft.com/office/drawing/2014/main" id="{5A5967B6-CFEA-144F-9467-3EAD9CF75109}"/>
                  </a:ext>
                </a:extLst>
              </p:cNvPr>
              <p:cNvSpPr txBox="1">
                <a:spLocks/>
              </p:cNvSpPr>
              <p:nvPr/>
            </p:nvSpPr>
            <p:spPr>
              <a:xfrm>
                <a:off x="1444796" y="4719002"/>
                <a:ext cx="1003316" cy="198793"/>
              </a:xfrm>
              <a:prstGeom prst="roundRect">
                <a:avLst/>
              </a:prstGeom>
              <a:noFill/>
            </p:spPr>
            <p:txBody>
              <a:bodyPr wrap="square" lIns="0" tIns="0" rIns="0" bIns="0" rtlCol="0" anchor="t">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Intelligence</a:t>
                </a:r>
              </a:p>
            </p:txBody>
          </p:sp>
          <p:sp>
            <p:nvSpPr>
              <p:cNvPr id="120" name="TextBox 119">
                <a:extLst>
                  <a:ext uri="{FF2B5EF4-FFF2-40B4-BE49-F238E27FC236}">
                    <a16:creationId xmlns:a16="http://schemas.microsoft.com/office/drawing/2014/main" id="{2D569062-21F9-6945-A62D-C814F1635A79}"/>
                  </a:ext>
                </a:extLst>
              </p:cNvPr>
              <p:cNvSpPr txBox="1">
                <a:spLocks/>
              </p:cNvSpPr>
              <p:nvPr/>
            </p:nvSpPr>
            <p:spPr>
              <a:xfrm>
                <a:off x="3480095" y="4719002"/>
                <a:ext cx="773776" cy="182708"/>
              </a:xfrm>
              <a:prstGeom prst="roundRect">
                <a:avLst/>
              </a:prstGeom>
              <a:noFill/>
            </p:spPr>
            <p:txBody>
              <a:bodyPr wrap="square" lIns="0" tIns="0" rIns="0" bIns="0" rtlCol="0" anchor="t">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SIEM/SOAR</a:t>
                </a:r>
              </a:p>
            </p:txBody>
          </p:sp>
          <p:sp>
            <p:nvSpPr>
              <p:cNvPr id="121" name="TextBox 120">
                <a:extLst>
                  <a:ext uri="{FF2B5EF4-FFF2-40B4-BE49-F238E27FC236}">
                    <a16:creationId xmlns:a16="http://schemas.microsoft.com/office/drawing/2014/main" id="{C5138E36-3BAF-F348-8DA2-4FF6E4D3D33C}"/>
                  </a:ext>
                </a:extLst>
              </p:cNvPr>
              <p:cNvSpPr txBox="1">
                <a:spLocks/>
              </p:cNvSpPr>
              <p:nvPr/>
            </p:nvSpPr>
            <p:spPr>
              <a:xfrm>
                <a:off x="592161" y="4719002"/>
                <a:ext cx="955930" cy="198793"/>
              </a:xfrm>
              <a:prstGeom prst="roundRect">
                <a:avLst/>
              </a:prstGeom>
              <a:noFill/>
            </p:spPr>
            <p:txBody>
              <a:bodyPr wrap="square" lIns="0" tIns="0" rIns="0" bIns="0" rtlCol="0" anchor="t">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a:rPr>
                  <a:t>3</a:t>
                </a:r>
                <a:r>
                  <a:rPr kumimoji="0" lang="en-US" sz="800" b="0" i="0" u="none" strike="noStrike" kern="0" cap="none" spc="0" normalizeH="0" baseline="30000" noProof="0" dirty="0">
                    <a:ln>
                      <a:noFill/>
                    </a:ln>
                    <a:solidFill>
                      <a:schemeClr val="bg1"/>
                    </a:solidFill>
                    <a:effectLst/>
                    <a:uLnTx/>
                    <a:uFillTx/>
                    <a:ea typeface="ＭＳ Ｐゴシック"/>
                  </a:rPr>
                  <a:t>rd </a:t>
                </a:r>
                <a:r>
                  <a:rPr kumimoji="0" lang="en-US" sz="800" b="0" i="0" u="none" strike="noStrike" kern="0" cap="none" spc="0" normalizeH="0" baseline="0" noProof="0" dirty="0">
                    <a:ln>
                      <a:noFill/>
                    </a:ln>
                    <a:solidFill>
                      <a:schemeClr val="bg1"/>
                    </a:solidFill>
                    <a:effectLst/>
                    <a:uLnTx/>
                    <a:uFillTx/>
                    <a:ea typeface="ＭＳ Ｐゴシック"/>
                  </a:rPr>
                  <a:t>Party/ITSM</a:t>
                </a:r>
                <a:endParaRPr kumimoji="0" lang="en-US" sz="800" b="0" i="0" u="none" strike="noStrike" kern="0" cap="none" spc="0" normalizeH="0" baseline="0" noProof="0" dirty="0">
                  <a:ln>
                    <a:noFill/>
                  </a:ln>
                  <a:solidFill>
                    <a:schemeClr val="bg1"/>
                  </a:solidFill>
                  <a:effectLst/>
                  <a:uLnTx/>
                  <a:uFillTx/>
                </a:endParaRPr>
              </a:p>
            </p:txBody>
          </p:sp>
          <p:sp>
            <p:nvSpPr>
              <p:cNvPr id="122" name="TextBox 121">
                <a:extLst>
                  <a:ext uri="{FF2B5EF4-FFF2-40B4-BE49-F238E27FC236}">
                    <a16:creationId xmlns:a16="http://schemas.microsoft.com/office/drawing/2014/main" id="{32B515EE-96C6-8D4A-A634-C940C0BEC064}"/>
                  </a:ext>
                </a:extLst>
              </p:cNvPr>
              <p:cNvSpPr txBox="1">
                <a:spLocks/>
              </p:cNvSpPr>
              <p:nvPr/>
            </p:nvSpPr>
            <p:spPr>
              <a:xfrm>
                <a:off x="2560201" y="4719002"/>
                <a:ext cx="680366" cy="182708"/>
              </a:xfrm>
              <a:prstGeom prst="roundRect">
                <a:avLst/>
              </a:prstGeom>
              <a:noFill/>
            </p:spPr>
            <p:txBody>
              <a:bodyPr wrap="square" lIns="0" tIns="0" rIns="0" bIns="0" rtlCol="0" anchor="t">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Identity</a:t>
                </a:r>
              </a:p>
            </p:txBody>
          </p:sp>
          <p:sp>
            <p:nvSpPr>
              <p:cNvPr id="123" name="Oval 122">
                <a:extLst>
                  <a:ext uri="{FF2B5EF4-FFF2-40B4-BE49-F238E27FC236}">
                    <a16:creationId xmlns:a16="http://schemas.microsoft.com/office/drawing/2014/main" id="{DE74F73C-CB9E-074B-B3EC-0BBBB96E9ECE}"/>
                  </a:ext>
                </a:extLst>
              </p:cNvPr>
              <p:cNvSpPr/>
              <p:nvPr/>
            </p:nvSpPr>
            <p:spPr>
              <a:xfrm>
                <a:off x="803646" y="4295321"/>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24" name="Oval 123">
                <a:extLst>
                  <a:ext uri="{FF2B5EF4-FFF2-40B4-BE49-F238E27FC236}">
                    <a16:creationId xmlns:a16="http://schemas.microsoft.com/office/drawing/2014/main" id="{F4297910-BCC0-9A41-8902-B0E04B003994}"/>
                  </a:ext>
                </a:extLst>
              </p:cNvPr>
              <p:cNvSpPr/>
              <p:nvPr/>
            </p:nvSpPr>
            <p:spPr>
              <a:xfrm>
                <a:off x="2691955" y="4293700"/>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25" name="Oval 124">
                <a:extLst>
                  <a:ext uri="{FF2B5EF4-FFF2-40B4-BE49-F238E27FC236}">
                    <a16:creationId xmlns:a16="http://schemas.microsoft.com/office/drawing/2014/main" id="{6D38E968-A4EE-9446-A4FA-06A68CB28D46}"/>
                  </a:ext>
                </a:extLst>
              </p:cNvPr>
              <p:cNvSpPr/>
              <p:nvPr/>
            </p:nvSpPr>
            <p:spPr>
              <a:xfrm>
                <a:off x="1747700" y="4293700"/>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126" name="Graphic 125">
                <a:extLst>
                  <a:ext uri="{FF2B5EF4-FFF2-40B4-BE49-F238E27FC236}">
                    <a16:creationId xmlns:a16="http://schemas.microsoft.com/office/drawing/2014/main" id="{998F2187-B172-D04B-85C4-0EAA19A85C2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63378" y="4355053"/>
                <a:ext cx="278044" cy="278044"/>
              </a:xfrm>
              <a:prstGeom prst="rect">
                <a:avLst/>
              </a:prstGeom>
            </p:spPr>
          </p:pic>
          <p:pic>
            <p:nvPicPr>
              <p:cNvPr id="127" name="Graphic 126">
                <a:extLst>
                  <a:ext uri="{FF2B5EF4-FFF2-40B4-BE49-F238E27FC236}">
                    <a16:creationId xmlns:a16="http://schemas.microsoft.com/office/drawing/2014/main" id="{C9387D75-52E9-5F4E-BDE2-71C1BED6242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80475" y="4355859"/>
                <a:ext cx="220469" cy="273190"/>
              </a:xfrm>
              <a:prstGeom prst="rect">
                <a:avLst/>
              </a:prstGeom>
            </p:spPr>
          </p:pic>
          <p:grpSp>
            <p:nvGrpSpPr>
              <p:cNvPr id="128" name="Group 127">
                <a:extLst>
                  <a:ext uri="{FF2B5EF4-FFF2-40B4-BE49-F238E27FC236}">
                    <a16:creationId xmlns:a16="http://schemas.microsoft.com/office/drawing/2014/main" id="{33A4EB8C-6607-904F-AC2B-A5D78F9BF54E}"/>
                  </a:ext>
                </a:extLst>
              </p:cNvPr>
              <p:cNvGrpSpPr/>
              <p:nvPr/>
            </p:nvGrpSpPr>
            <p:grpSpPr>
              <a:xfrm>
                <a:off x="1790281" y="4320159"/>
                <a:ext cx="404992" cy="345990"/>
                <a:chOff x="1771229" y="1366520"/>
                <a:chExt cx="451076" cy="385360"/>
              </a:xfrm>
            </p:grpSpPr>
            <p:pic>
              <p:nvPicPr>
                <p:cNvPr id="139" name="Graphic 138">
                  <a:extLst>
                    <a:ext uri="{FF2B5EF4-FFF2-40B4-BE49-F238E27FC236}">
                      <a16:creationId xmlns:a16="http://schemas.microsoft.com/office/drawing/2014/main" id="{E4E29CD8-E30E-9640-B07F-42D700DDEBB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836945" y="1366520"/>
                  <a:ext cx="385360" cy="385360"/>
                </a:xfrm>
                <a:prstGeom prst="rect">
                  <a:avLst/>
                </a:prstGeom>
              </p:spPr>
            </p:pic>
            <p:grpSp>
              <p:nvGrpSpPr>
                <p:cNvPr id="140" name="Group 139">
                  <a:extLst>
                    <a:ext uri="{FF2B5EF4-FFF2-40B4-BE49-F238E27FC236}">
                      <a16:creationId xmlns:a16="http://schemas.microsoft.com/office/drawing/2014/main" id="{0A98EAA3-B61F-F843-B3C4-2E41B520D020}"/>
                    </a:ext>
                  </a:extLst>
                </p:cNvPr>
                <p:cNvGrpSpPr/>
                <p:nvPr/>
              </p:nvGrpSpPr>
              <p:grpSpPr>
                <a:xfrm>
                  <a:off x="1771229" y="1427917"/>
                  <a:ext cx="295453" cy="279085"/>
                  <a:chOff x="6463468" y="4216059"/>
                  <a:chExt cx="1096954" cy="1036290"/>
                </a:xfrm>
              </p:grpSpPr>
              <p:sp>
                <p:nvSpPr>
                  <p:cNvPr id="161" name="Freeform: Shape 197">
                    <a:extLst>
                      <a:ext uri="{FF2B5EF4-FFF2-40B4-BE49-F238E27FC236}">
                        <a16:creationId xmlns:a16="http://schemas.microsoft.com/office/drawing/2014/main" id="{2D79EA8D-7612-F54F-8E54-88E1771E0D60}"/>
                      </a:ext>
                    </a:extLst>
                  </p:cNvPr>
                  <p:cNvSpPr/>
                  <p:nvPr/>
                </p:nvSpPr>
                <p:spPr>
                  <a:xfrm>
                    <a:off x="6833745" y="4216059"/>
                    <a:ext cx="356256" cy="14307"/>
                  </a:xfrm>
                  <a:custGeom>
                    <a:avLst/>
                    <a:gdLst>
                      <a:gd name="connsiteX0" fmla="*/ 356256 w 356256"/>
                      <a:gd name="connsiteY0" fmla="*/ 0 h 14307"/>
                      <a:gd name="connsiteX1" fmla="*/ 0 w 356256"/>
                      <a:gd name="connsiteY1" fmla="*/ 0 h 14307"/>
                    </a:gdLst>
                    <a:ahLst/>
                    <a:cxnLst>
                      <a:cxn ang="0">
                        <a:pos x="connsiteX0" y="connsiteY0"/>
                      </a:cxn>
                      <a:cxn ang="0">
                        <a:pos x="connsiteX1" y="connsiteY1"/>
                      </a:cxn>
                    </a:cxnLst>
                    <a:rect l="l" t="t" r="r" b="b"/>
                    <a:pathLst>
                      <a:path w="356256" h="14307">
                        <a:moveTo>
                          <a:pt x="356256"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2" name="Freeform: Shape 198">
                    <a:extLst>
                      <a:ext uri="{FF2B5EF4-FFF2-40B4-BE49-F238E27FC236}">
                        <a16:creationId xmlns:a16="http://schemas.microsoft.com/office/drawing/2014/main" id="{93AC2C3E-8F2F-794F-A7D7-A31DF876E234}"/>
                      </a:ext>
                    </a:extLst>
                  </p:cNvPr>
                  <p:cNvSpPr/>
                  <p:nvPr/>
                </p:nvSpPr>
                <p:spPr>
                  <a:xfrm>
                    <a:off x="6699112" y="4284306"/>
                    <a:ext cx="625666" cy="14307"/>
                  </a:xfrm>
                  <a:custGeom>
                    <a:avLst/>
                    <a:gdLst>
                      <a:gd name="connsiteX0" fmla="*/ 625666 w 625666"/>
                      <a:gd name="connsiteY0" fmla="*/ 0 h 14307"/>
                      <a:gd name="connsiteX1" fmla="*/ 0 w 625666"/>
                      <a:gd name="connsiteY1" fmla="*/ 0 h 14307"/>
                    </a:gdLst>
                    <a:ahLst/>
                    <a:cxnLst>
                      <a:cxn ang="0">
                        <a:pos x="connsiteX0" y="connsiteY0"/>
                      </a:cxn>
                      <a:cxn ang="0">
                        <a:pos x="connsiteX1" y="connsiteY1"/>
                      </a:cxn>
                    </a:cxnLst>
                    <a:rect l="l" t="t" r="r" b="b"/>
                    <a:pathLst>
                      <a:path w="625666" h="14307">
                        <a:moveTo>
                          <a:pt x="625666"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3" name="Freeform: Shape 199">
                    <a:extLst>
                      <a:ext uri="{FF2B5EF4-FFF2-40B4-BE49-F238E27FC236}">
                        <a16:creationId xmlns:a16="http://schemas.microsoft.com/office/drawing/2014/main" id="{2727ED8E-A590-6C4A-B6FF-9B6B567808C6}"/>
                      </a:ext>
                    </a:extLst>
                  </p:cNvPr>
                  <p:cNvSpPr/>
                  <p:nvPr/>
                </p:nvSpPr>
                <p:spPr>
                  <a:xfrm>
                    <a:off x="6618704" y="4352409"/>
                    <a:ext cx="786482" cy="14307"/>
                  </a:xfrm>
                  <a:custGeom>
                    <a:avLst/>
                    <a:gdLst>
                      <a:gd name="connsiteX0" fmla="*/ 786482 w 786482"/>
                      <a:gd name="connsiteY0" fmla="*/ 0 h 14307"/>
                      <a:gd name="connsiteX1" fmla="*/ 0 w 786482"/>
                      <a:gd name="connsiteY1" fmla="*/ 0 h 14307"/>
                    </a:gdLst>
                    <a:ahLst/>
                    <a:cxnLst>
                      <a:cxn ang="0">
                        <a:pos x="connsiteX0" y="connsiteY0"/>
                      </a:cxn>
                      <a:cxn ang="0">
                        <a:pos x="connsiteX1" y="connsiteY1"/>
                      </a:cxn>
                    </a:cxnLst>
                    <a:rect l="l" t="t" r="r" b="b"/>
                    <a:pathLst>
                      <a:path w="786482" h="14307">
                        <a:moveTo>
                          <a:pt x="786482"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4" name="Freeform: Shape 200">
                    <a:extLst>
                      <a:ext uri="{FF2B5EF4-FFF2-40B4-BE49-F238E27FC236}">
                        <a16:creationId xmlns:a16="http://schemas.microsoft.com/office/drawing/2014/main" id="{28F9A3BF-CB6B-E143-891F-A72687919D8A}"/>
                      </a:ext>
                    </a:extLst>
                  </p:cNvPr>
                  <p:cNvSpPr/>
                  <p:nvPr/>
                </p:nvSpPr>
                <p:spPr>
                  <a:xfrm>
                    <a:off x="6562189" y="4420513"/>
                    <a:ext cx="899511" cy="14307"/>
                  </a:xfrm>
                  <a:custGeom>
                    <a:avLst/>
                    <a:gdLst>
                      <a:gd name="connsiteX0" fmla="*/ 899511 w 899511"/>
                      <a:gd name="connsiteY0" fmla="*/ 0 h 14307"/>
                      <a:gd name="connsiteX1" fmla="*/ 0 w 899511"/>
                      <a:gd name="connsiteY1" fmla="*/ 0 h 14307"/>
                    </a:gdLst>
                    <a:ahLst/>
                    <a:cxnLst>
                      <a:cxn ang="0">
                        <a:pos x="connsiteX0" y="connsiteY0"/>
                      </a:cxn>
                      <a:cxn ang="0">
                        <a:pos x="connsiteX1" y="connsiteY1"/>
                      </a:cxn>
                    </a:cxnLst>
                    <a:rect l="l" t="t" r="r" b="b"/>
                    <a:pathLst>
                      <a:path w="899511" h="14307">
                        <a:moveTo>
                          <a:pt x="899511"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5" name="Freeform: Shape 201">
                    <a:extLst>
                      <a:ext uri="{FF2B5EF4-FFF2-40B4-BE49-F238E27FC236}">
                        <a16:creationId xmlns:a16="http://schemas.microsoft.com/office/drawing/2014/main" id="{84FD19B1-2FFE-8542-A222-6691520FD794}"/>
                      </a:ext>
                    </a:extLst>
                  </p:cNvPr>
                  <p:cNvSpPr/>
                  <p:nvPr/>
                </p:nvSpPr>
                <p:spPr>
                  <a:xfrm>
                    <a:off x="6521413" y="4488616"/>
                    <a:ext cx="981063" cy="14307"/>
                  </a:xfrm>
                  <a:custGeom>
                    <a:avLst/>
                    <a:gdLst>
                      <a:gd name="connsiteX0" fmla="*/ 981064 w 981063"/>
                      <a:gd name="connsiteY0" fmla="*/ 0 h 14307"/>
                      <a:gd name="connsiteX1" fmla="*/ 0 w 981063"/>
                      <a:gd name="connsiteY1" fmla="*/ 0 h 14307"/>
                    </a:gdLst>
                    <a:ahLst/>
                    <a:cxnLst>
                      <a:cxn ang="0">
                        <a:pos x="connsiteX0" y="connsiteY0"/>
                      </a:cxn>
                      <a:cxn ang="0">
                        <a:pos x="connsiteX1" y="connsiteY1"/>
                      </a:cxn>
                    </a:cxnLst>
                    <a:rect l="l" t="t" r="r" b="b"/>
                    <a:pathLst>
                      <a:path w="981063" h="14307">
                        <a:moveTo>
                          <a:pt x="981064"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6" name="Freeform: Shape 202">
                    <a:extLst>
                      <a:ext uri="{FF2B5EF4-FFF2-40B4-BE49-F238E27FC236}">
                        <a16:creationId xmlns:a16="http://schemas.microsoft.com/office/drawing/2014/main" id="{48EC113A-C785-CF4D-A344-45E57415227A}"/>
                      </a:ext>
                    </a:extLst>
                  </p:cNvPr>
                  <p:cNvSpPr/>
                  <p:nvPr/>
                </p:nvSpPr>
                <p:spPr>
                  <a:xfrm>
                    <a:off x="6492655" y="4556720"/>
                    <a:ext cx="1038436" cy="14307"/>
                  </a:xfrm>
                  <a:custGeom>
                    <a:avLst/>
                    <a:gdLst>
                      <a:gd name="connsiteX0" fmla="*/ 1038437 w 1038436"/>
                      <a:gd name="connsiteY0" fmla="*/ 0 h 14307"/>
                      <a:gd name="connsiteX1" fmla="*/ 0 w 1038436"/>
                      <a:gd name="connsiteY1" fmla="*/ 0 h 14307"/>
                    </a:gdLst>
                    <a:ahLst/>
                    <a:cxnLst>
                      <a:cxn ang="0">
                        <a:pos x="connsiteX0" y="connsiteY0"/>
                      </a:cxn>
                      <a:cxn ang="0">
                        <a:pos x="connsiteX1" y="connsiteY1"/>
                      </a:cxn>
                    </a:cxnLst>
                    <a:rect l="l" t="t" r="r" b="b"/>
                    <a:pathLst>
                      <a:path w="1038436" h="14307">
                        <a:moveTo>
                          <a:pt x="1038437"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7" name="Freeform: Shape 203">
                    <a:extLst>
                      <a:ext uri="{FF2B5EF4-FFF2-40B4-BE49-F238E27FC236}">
                        <a16:creationId xmlns:a16="http://schemas.microsoft.com/office/drawing/2014/main" id="{A056364C-8756-4640-ABEB-7260ADF0A1EF}"/>
                      </a:ext>
                    </a:extLst>
                  </p:cNvPr>
                  <p:cNvSpPr/>
                  <p:nvPr/>
                </p:nvSpPr>
                <p:spPr>
                  <a:xfrm>
                    <a:off x="6474055" y="4624967"/>
                    <a:ext cx="1075779" cy="14307"/>
                  </a:xfrm>
                  <a:custGeom>
                    <a:avLst/>
                    <a:gdLst>
                      <a:gd name="connsiteX0" fmla="*/ 1075779 w 1075779"/>
                      <a:gd name="connsiteY0" fmla="*/ 0 h 14307"/>
                      <a:gd name="connsiteX1" fmla="*/ 0 w 1075779"/>
                      <a:gd name="connsiteY1" fmla="*/ 0 h 14307"/>
                    </a:gdLst>
                    <a:ahLst/>
                    <a:cxnLst>
                      <a:cxn ang="0">
                        <a:pos x="connsiteX0" y="connsiteY0"/>
                      </a:cxn>
                      <a:cxn ang="0">
                        <a:pos x="connsiteX1" y="connsiteY1"/>
                      </a:cxn>
                    </a:cxnLst>
                    <a:rect l="l" t="t" r="r" b="b"/>
                    <a:pathLst>
                      <a:path w="1075779" h="14307">
                        <a:moveTo>
                          <a:pt x="1075779"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8" name="Freeform: Shape 204">
                    <a:extLst>
                      <a:ext uri="{FF2B5EF4-FFF2-40B4-BE49-F238E27FC236}">
                        <a16:creationId xmlns:a16="http://schemas.microsoft.com/office/drawing/2014/main" id="{5748C226-3829-FE43-B603-2C29F6B8AA16}"/>
                      </a:ext>
                    </a:extLst>
                  </p:cNvPr>
                  <p:cNvSpPr/>
                  <p:nvPr/>
                </p:nvSpPr>
                <p:spPr>
                  <a:xfrm>
                    <a:off x="6464469" y="4693070"/>
                    <a:ext cx="1094951" cy="14307"/>
                  </a:xfrm>
                  <a:custGeom>
                    <a:avLst/>
                    <a:gdLst>
                      <a:gd name="connsiteX0" fmla="*/ 1094951 w 1094951"/>
                      <a:gd name="connsiteY0" fmla="*/ 0 h 14307"/>
                      <a:gd name="connsiteX1" fmla="*/ 0 w 1094951"/>
                      <a:gd name="connsiteY1" fmla="*/ 0 h 14307"/>
                    </a:gdLst>
                    <a:ahLst/>
                    <a:cxnLst>
                      <a:cxn ang="0">
                        <a:pos x="connsiteX0" y="connsiteY0"/>
                      </a:cxn>
                      <a:cxn ang="0">
                        <a:pos x="connsiteX1" y="connsiteY1"/>
                      </a:cxn>
                    </a:cxnLst>
                    <a:rect l="l" t="t" r="r" b="b"/>
                    <a:pathLst>
                      <a:path w="1094951" h="14307">
                        <a:moveTo>
                          <a:pt x="1094951"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9" name="Freeform: Shape 205">
                    <a:extLst>
                      <a:ext uri="{FF2B5EF4-FFF2-40B4-BE49-F238E27FC236}">
                        <a16:creationId xmlns:a16="http://schemas.microsoft.com/office/drawing/2014/main" id="{012C2DFE-F553-6C41-B687-3B1713C74F0D}"/>
                      </a:ext>
                    </a:extLst>
                  </p:cNvPr>
                  <p:cNvSpPr/>
                  <p:nvPr/>
                </p:nvSpPr>
                <p:spPr>
                  <a:xfrm>
                    <a:off x="6463468" y="4761174"/>
                    <a:ext cx="1096954" cy="14307"/>
                  </a:xfrm>
                  <a:custGeom>
                    <a:avLst/>
                    <a:gdLst>
                      <a:gd name="connsiteX0" fmla="*/ 1096955 w 1096954"/>
                      <a:gd name="connsiteY0" fmla="*/ 0 h 14307"/>
                      <a:gd name="connsiteX1" fmla="*/ 0 w 1096954"/>
                      <a:gd name="connsiteY1" fmla="*/ 0 h 14307"/>
                    </a:gdLst>
                    <a:ahLst/>
                    <a:cxnLst>
                      <a:cxn ang="0">
                        <a:pos x="connsiteX0" y="connsiteY0"/>
                      </a:cxn>
                      <a:cxn ang="0">
                        <a:pos x="connsiteX1" y="connsiteY1"/>
                      </a:cxn>
                    </a:cxnLst>
                    <a:rect l="l" t="t" r="r" b="b"/>
                    <a:pathLst>
                      <a:path w="1096954" h="14307">
                        <a:moveTo>
                          <a:pt x="1096955"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0" name="Freeform: Shape 206">
                    <a:extLst>
                      <a:ext uri="{FF2B5EF4-FFF2-40B4-BE49-F238E27FC236}">
                        <a16:creationId xmlns:a16="http://schemas.microsoft.com/office/drawing/2014/main" id="{171AB0F7-C355-E44E-9C0A-A18FEC709E8B}"/>
                      </a:ext>
                    </a:extLst>
                  </p:cNvPr>
                  <p:cNvSpPr/>
                  <p:nvPr/>
                </p:nvSpPr>
                <p:spPr>
                  <a:xfrm>
                    <a:off x="6470907" y="4829278"/>
                    <a:ext cx="1082074" cy="14307"/>
                  </a:xfrm>
                  <a:custGeom>
                    <a:avLst/>
                    <a:gdLst>
                      <a:gd name="connsiteX0" fmla="*/ 1082075 w 1082074"/>
                      <a:gd name="connsiteY0" fmla="*/ 0 h 14307"/>
                      <a:gd name="connsiteX1" fmla="*/ 0 w 1082074"/>
                      <a:gd name="connsiteY1" fmla="*/ 0 h 14307"/>
                    </a:gdLst>
                    <a:ahLst/>
                    <a:cxnLst>
                      <a:cxn ang="0">
                        <a:pos x="connsiteX0" y="connsiteY0"/>
                      </a:cxn>
                      <a:cxn ang="0">
                        <a:pos x="connsiteX1" y="connsiteY1"/>
                      </a:cxn>
                    </a:cxnLst>
                    <a:rect l="l" t="t" r="r" b="b"/>
                    <a:pathLst>
                      <a:path w="1082074" h="14307">
                        <a:moveTo>
                          <a:pt x="1082075"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1" name="Freeform: Shape 207">
                    <a:extLst>
                      <a:ext uri="{FF2B5EF4-FFF2-40B4-BE49-F238E27FC236}">
                        <a16:creationId xmlns:a16="http://schemas.microsoft.com/office/drawing/2014/main" id="{1F9088F6-0D46-764A-937F-B43575584FFA}"/>
                      </a:ext>
                    </a:extLst>
                  </p:cNvPr>
                  <p:cNvSpPr/>
                  <p:nvPr/>
                </p:nvSpPr>
                <p:spPr>
                  <a:xfrm>
                    <a:off x="6487075" y="4897381"/>
                    <a:ext cx="1049596" cy="14307"/>
                  </a:xfrm>
                  <a:custGeom>
                    <a:avLst/>
                    <a:gdLst>
                      <a:gd name="connsiteX0" fmla="*/ 1049597 w 1049596"/>
                      <a:gd name="connsiteY0" fmla="*/ 0 h 14307"/>
                      <a:gd name="connsiteX1" fmla="*/ 0 w 1049596"/>
                      <a:gd name="connsiteY1" fmla="*/ 0 h 14307"/>
                    </a:gdLst>
                    <a:ahLst/>
                    <a:cxnLst>
                      <a:cxn ang="0">
                        <a:pos x="connsiteX0" y="connsiteY0"/>
                      </a:cxn>
                      <a:cxn ang="0">
                        <a:pos x="connsiteX1" y="connsiteY1"/>
                      </a:cxn>
                    </a:cxnLst>
                    <a:rect l="l" t="t" r="r" b="b"/>
                    <a:pathLst>
                      <a:path w="1049596" h="14307">
                        <a:moveTo>
                          <a:pt x="1049597"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2" name="Freeform: Shape 208">
                    <a:extLst>
                      <a:ext uri="{FF2B5EF4-FFF2-40B4-BE49-F238E27FC236}">
                        <a16:creationId xmlns:a16="http://schemas.microsoft.com/office/drawing/2014/main" id="{27A76536-57D3-EE42-AFBE-D69FC25B4E39}"/>
                      </a:ext>
                    </a:extLst>
                  </p:cNvPr>
                  <p:cNvSpPr/>
                  <p:nvPr/>
                </p:nvSpPr>
                <p:spPr>
                  <a:xfrm>
                    <a:off x="6513401" y="4965628"/>
                    <a:ext cx="997088" cy="14307"/>
                  </a:xfrm>
                  <a:custGeom>
                    <a:avLst/>
                    <a:gdLst>
                      <a:gd name="connsiteX0" fmla="*/ 997088 w 997088"/>
                      <a:gd name="connsiteY0" fmla="*/ 0 h 14307"/>
                      <a:gd name="connsiteX1" fmla="*/ 0 w 997088"/>
                      <a:gd name="connsiteY1" fmla="*/ 0 h 14307"/>
                    </a:gdLst>
                    <a:ahLst/>
                    <a:cxnLst>
                      <a:cxn ang="0">
                        <a:pos x="connsiteX0" y="connsiteY0"/>
                      </a:cxn>
                      <a:cxn ang="0">
                        <a:pos x="connsiteX1" y="connsiteY1"/>
                      </a:cxn>
                    </a:cxnLst>
                    <a:rect l="l" t="t" r="r" b="b"/>
                    <a:pathLst>
                      <a:path w="997088" h="14307">
                        <a:moveTo>
                          <a:pt x="997088"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3" name="Freeform: Shape 209">
                    <a:extLst>
                      <a:ext uri="{FF2B5EF4-FFF2-40B4-BE49-F238E27FC236}">
                        <a16:creationId xmlns:a16="http://schemas.microsoft.com/office/drawing/2014/main" id="{1416257B-71DC-6B45-B82C-66C1C41C6A9E}"/>
                      </a:ext>
                    </a:extLst>
                  </p:cNvPr>
                  <p:cNvSpPr/>
                  <p:nvPr/>
                </p:nvSpPr>
                <p:spPr>
                  <a:xfrm>
                    <a:off x="6550886" y="5033731"/>
                    <a:ext cx="921974" cy="14307"/>
                  </a:xfrm>
                  <a:custGeom>
                    <a:avLst/>
                    <a:gdLst>
                      <a:gd name="connsiteX0" fmla="*/ 921974 w 921974"/>
                      <a:gd name="connsiteY0" fmla="*/ 0 h 14307"/>
                      <a:gd name="connsiteX1" fmla="*/ 0 w 921974"/>
                      <a:gd name="connsiteY1" fmla="*/ 0 h 14307"/>
                    </a:gdLst>
                    <a:ahLst/>
                    <a:cxnLst>
                      <a:cxn ang="0">
                        <a:pos x="connsiteX0" y="connsiteY0"/>
                      </a:cxn>
                      <a:cxn ang="0">
                        <a:pos x="connsiteX1" y="connsiteY1"/>
                      </a:cxn>
                    </a:cxnLst>
                    <a:rect l="l" t="t" r="r" b="b"/>
                    <a:pathLst>
                      <a:path w="921974" h="14307">
                        <a:moveTo>
                          <a:pt x="921974"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4" name="Freeform: Shape 210">
                    <a:extLst>
                      <a:ext uri="{FF2B5EF4-FFF2-40B4-BE49-F238E27FC236}">
                        <a16:creationId xmlns:a16="http://schemas.microsoft.com/office/drawing/2014/main" id="{96ACB337-B01D-B041-A262-0298C3224C3F}"/>
                      </a:ext>
                    </a:extLst>
                  </p:cNvPr>
                  <p:cNvSpPr/>
                  <p:nvPr/>
                </p:nvSpPr>
                <p:spPr>
                  <a:xfrm>
                    <a:off x="6602966" y="5101835"/>
                    <a:ext cx="817958" cy="14307"/>
                  </a:xfrm>
                  <a:custGeom>
                    <a:avLst/>
                    <a:gdLst>
                      <a:gd name="connsiteX0" fmla="*/ 817959 w 817958"/>
                      <a:gd name="connsiteY0" fmla="*/ 0 h 14307"/>
                      <a:gd name="connsiteX1" fmla="*/ 0 w 817958"/>
                      <a:gd name="connsiteY1" fmla="*/ 0 h 14307"/>
                    </a:gdLst>
                    <a:ahLst/>
                    <a:cxnLst>
                      <a:cxn ang="0">
                        <a:pos x="connsiteX0" y="connsiteY0"/>
                      </a:cxn>
                      <a:cxn ang="0">
                        <a:pos x="connsiteX1" y="connsiteY1"/>
                      </a:cxn>
                    </a:cxnLst>
                    <a:rect l="l" t="t" r="r" b="b"/>
                    <a:pathLst>
                      <a:path w="817958" h="14307">
                        <a:moveTo>
                          <a:pt x="817959"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5" name="Freeform: Shape 211">
                    <a:extLst>
                      <a:ext uri="{FF2B5EF4-FFF2-40B4-BE49-F238E27FC236}">
                        <a16:creationId xmlns:a16="http://schemas.microsoft.com/office/drawing/2014/main" id="{8E70F58A-4610-5448-981B-EC7A6728705F}"/>
                      </a:ext>
                    </a:extLst>
                  </p:cNvPr>
                  <p:cNvSpPr/>
                  <p:nvPr/>
                </p:nvSpPr>
                <p:spPr>
                  <a:xfrm>
                    <a:off x="6676077" y="5169939"/>
                    <a:ext cx="671736" cy="14307"/>
                  </a:xfrm>
                  <a:custGeom>
                    <a:avLst/>
                    <a:gdLst>
                      <a:gd name="connsiteX0" fmla="*/ 671736 w 671736"/>
                      <a:gd name="connsiteY0" fmla="*/ 0 h 14307"/>
                      <a:gd name="connsiteX1" fmla="*/ 0 w 671736"/>
                      <a:gd name="connsiteY1" fmla="*/ 0 h 14307"/>
                    </a:gdLst>
                    <a:ahLst/>
                    <a:cxnLst>
                      <a:cxn ang="0">
                        <a:pos x="connsiteX0" y="connsiteY0"/>
                      </a:cxn>
                      <a:cxn ang="0">
                        <a:pos x="connsiteX1" y="connsiteY1"/>
                      </a:cxn>
                    </a:cxnLst>
                    <a:rect l="l" t="t" r="r" b="b"/>
                    <a:pathLst>
                      <a:path w="671736" h="14307">
                        <a:moveTo>
                          <a:pt x="671736"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76" name="Freeform: Shape 212">
                    <a:extLst>
                      <a:ext uri="{FF2B5EF4-FFF2-40B4-BE49-F238E27FC236}">
                        <a16:creationId xmlns:a16="http://schemas.microsoft.com/office/drawing/2014/main" id="{08C23C66-F4EB-DE45-9673-59795F929838}"/>
                      </a:ext>
                    </a:extLst>
                  </p:cNvPr>
                  <p:cNvSpPr/>
                  <p:nvPr/>
                </p:nvSpPr>
                <p:spPr>
                  <a:xfrm>
                    <a:off x="6790393" y="5238042"/>
                    <a:ext cx="442959" cy="14307"/>
                  </a:xfrm>
                  <a:custGeom>
                    <a:avLst/>
                    <a:gdLst>
                      <a:gd name="connsiteX0" fmla="*/ 442960 w 442959"/>
                      <a:gd name="connsiteY0" fmla="*/ 0 h 14307"/>
                      <a:gd name="connsiteX1" fmla="*/ 0 w 442959"/>
                      <a:gd name="connsiteY1" fmla="*/ 0 h 14307"/>
                    </a:gdLst>
                    <a:ahLst/>
                    <a:cxnLst>
                      <a:cxn ang="0">
                        <a:pos x="connsiteX0" y="connsiteY0"/>
                      </a:cxn>
                      <a:cxn ang="0">
                        <a:pos x="connsiteX1" y="connsiteY1"/>
                      </a:cxn>
                    </a:cxnLst>
                    <a:rect l="l" t="t" r="r" b="b"/>
                    <a:pathLst>
                      <a:path w="442959" h="14307">
                        <a:moveTo>
                          <a:pt x="442960" y="0"/>
                        </a:moveTo>
                        <a:lnTo>
                          <a:pt x="0" y="0"/>
                        </a:lnTo>
                      </a:path>
                    </a:pathLst>
                  </a:custGeom>
                  <a:ln w="3175" cap="flat">
                    <a:solidFill>
                      <a:srgbClr val="00BCEB"/>
                    </a:solidFill>
                    <a:prstDash val="solid"/>
                    <a:miter/>
                  </a:ln>
                </p:spPr>
                <p:txBody>
                  <a:bodyPr rtlCol="0" anchor="ctr">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grpSp>
            <p:grpSp>
              <p:nvGrpSpPr>
                <p:cNvPr id="141" name="Group 140">
                  <a:extLst>
                    <a:ext uri="{FF2B5EF4-FFF2-40B4-BE49-F238E27FC236}">
                      <a16:creationId xmlns:a16="http://schemas.microsoft.com/office/drawing/2014/main" id="{BD5E92F8-1058-954C-9D32-C16571EE3D04}"/>
                    </a:ext>
                  </a:extLst>
                </p:cNvPr>
                <p:cNvGrpSpPr/>
                <p:nvPr/>
              </p:nvGrpSpPr>
              <p:grpSpPr>
                <a:xfrm rot="18301112">
                  <a:off x="1835995" y="1491729"/>
                  <a:ext cx="182934" cy="158838"/>
                  <a:chOff x="4479926" y="2862263"/>
                  <a:chExt cx="1314450" cy="1141412"/>
                </a:xfrm>
              </p:grpSpPr>
              <p:sp>
                <p:nvSpPr>
                  <p:cNvPr id="142" name="Oval 209">
                    <a:extLst>
                      <a:ext uri="{FF2B5EF4-FFF2-40B4-BE49-F238E27FC236}">
                        <a16:creationId xmlns:a16="http://schemas.microsoft.com/office/drawing/2014/main" id="{342AD5DA-EDA5-8B40-9B48-4C5478138268}"/>
                      </a:ext>
                    </a:extLst>
                  </p:cNvPr>
                  <p:cNvSpPr>
                    <a:spLocks noChangeArrowheads="1"/>
                  </p:cNvSpPr>
                  <p:nvPr/>
                </p:nvSpPr>
                <p:spPr bwMode="auto">
                  <a:xfrm>
                    <a:off x="4702176" y="3646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3" name="Oval 210">
                    <a:extLst>
                      <a:ext uri="{FF2B5EF4-FFF2-40B4-BE49-F238E27FC236}">
                        <a16:creationId xmlns:a16="http://schemas.microsoft.com/office/drawing/2014/main" id="{7B62E965-2ACF-8A48-80FE-52D2ED454BA7}"/>
                      </a:ext>
                    </a:extLst>
                  </p:cNvPr>
                  <p:cNvSpPr>
                    <a:spLocks noChangeArrowheads="1"/>
                  </p:cNvSpPr>
                  <p:nvPr/>
                </p:nvSpPr>
                <p:spPr bwMode="auto">
                  <a:xfrm>
                    <a:off x="5186363" y="3646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4" name="Oval 211">
                    <a:extLst>
                      <a:ext uri="{FF2B5EF4-FFF2-40B4-BE49-F238E27FC236}">
                        <a16:creationId xmlns:a16="http://schemas.microsoft.com/office/drawing/2014/main" id="{6DE80C01-71E1-EE4A-A9C1-B94A645491BD}"/>
                      </a:ext>
                    </a:extLst>
                  </p:cNvPr>
                  <p:cNvSpPr>
                    <a:spLocks noChangeArrowheads="1"/>
                  </p:cNvSpPr>
                  <p:nvPr/>
                </p:nvSpPr>
                <p:spPr bwMode="auto">
                  <a:xfrm>
                    <a:off x="5186363" y="339883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5" name="Oval 212">
                    <a:extLst>
                      <a:ext uri="{FF2B5EF4-FFF2-40B4-BE49-F238E27FC236}">
                        <a16:creationId xmlns:a16="http://schemas.microsoft.com/office/drawing/2014/main" id="{46DDE2E0-3F02-DA4A-8A59-B371B5C5F9EE}"/>
                      </a:ext>
                    </a:extLst>
                  </p:cNvPr>
                  <p:cNvSpPr>
                    <a:spLocks noChangeArrowheads="1"/>
                  </p:cNvSpPr>
                  <p:nvPr/>
                </p:nvSpPr>
                <p:spPr bwMode="auto">
                  <a:xfrm>
                    <a:off x="5426076" y="3138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6" name="Oval 213">
                    <a:extLst>
                      <a:ext uri="{FF2B5EF4-FFF2-40B4-BE49-F238E27FC236}">
                        <a16:creationId xmlns:a16="http://schemas.microsoft.com/office/drawing/2014/main" id="{C69524F3-8E5B-464E-BD19-7C47F11541CA}"/>
                      </a:ext>
                    </a:extLst>
                  </p:cNvPr>
                  <p:cNvSpPr>
                    <a:spLocks noChangeArrowheads="1"/>
                  </p:cNvSpPr>
                  <p:nvPr/>
                </p:nvSpPr>
                <p:spPr bwMode="auto">
                  <a:xfrm>
                    <a:off x="5426076" y="289083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7" name="Oval 214">
                    <a:extLst>
                      <a:ext uri="{FF2B5EF4-FFF2-40B4-BE49-F238E27FC236}">
                        <a16:creationId xmlns:a16="http://schemas.microsoft.com/office/drawing/2014/main" id="{0F40E61C-0EFA-8041-98BA-6531D91BFA39}"/>
                      </a:ext>
                    </a:extLst>
                  </p:cNvPr>
                  <p:cNvSpPr>
                    <a:spLocks noChangeArrowheads="1"/>
                  </p:cNvSpPr>
                  <p:nvPr/>
                </p:nvSpPr>
                <p:spPr bwMode="auto">
                  <a:xfrm>
                    <a:off x="5691188" y="3144838"/>
                    <a:ext cx="74613" cy="79375"/>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8" name="Oval 208">
                    <a:extLst>
                      <a:ext uri="{FF2B5EF4-FFF2-40B4-BE49-F238E27FC236}">
                        <a16:creationId xmlns:a16="http://schemas.microsoft.com/office/drawing/2014/main" id="{20E9DA25-3322-2548-B5D8-CF5B672539D0}"/>
                      </a:ext>
                    </a:extLst>
                  </p:cNvPr>
                  <p:cNvSpPr>
                    <a:spLocks noChangeArrowheads="1"/>
                  </p:cNvSpPr>
                  <p:nvPr/>
                </p:nvSpPr>
                <p:spPr bwMode="auto">
                  <a:xfrm>
                    <a:off x="4479926" y="3646488"/>
                    <a:ext cx="74613"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49" name="Oval 215">
                    <a:extLst>
                      <a:ext uri="{FF2B5EF4-FFF2-40B4-BE49-F238E27FC236}">
                        <a16:creationId xmlns:a16="http://schemas.microsoft.com/office/drawing/2014/main" id="{CB00FE9E-52F8-6043-BB6B-E2192CD2E5AA}"/>
                      </a:ext>
                    </a:extLst>
                  </p:cNvPr>
                  <p:cNvSpPr>
                    <a:spLocks noChangeArrowheads="1"/>
                  </p:cNvSpPr>
                  <p:nvPr/>
                </p:nvSpPr>
                <p:spPr bwMode="auto">
                  <a:xfrm>
                    <a:off x="4479926" y="3900488"/>
                    <a:ext cx="74613"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0" name="Oval 216">
                    <a:extLst>
                      <a:ext uri="{FF2B5EF4-FFF2-40B4-BE49-F238E27FC236}">
                        <a16:creationId xmlns:a16="http://schemas.microsoft.com/office/drawing/2014/main" id="{8387EC17-2A0A-5C42-AFFD-C3BFDEFDFC02}"/>
                      </a:ext>
                    </a:extLst>
                  </p:cNvPr>
                  <p:cNvSpPr>
                    <a:spLocks noChangeArrowheads="1"/>
                  </p:cNvSpPr>
                  <p:nvPr/>
                </p:nvSpPr>
                <p:spPr bwMode="auto">
                  <a:xfrm>
                    <a:off x="5186363" y="390048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1" name="Oval 217">
                    <a:extLst>
                      <a:ext uri="{FF2B5EF4-FFF2-40B4-BE49-F238E27FC236}">
                        <a16:creationId xmlns:a16="http://schemas.microsoft.com/office/drawing/2014/main" id="{8C11E814-176B-3544-8851-4C0CEE2A8E6E}"/>
                      </a:ext>
                    </a:extLst>
                  </p:cNvPr>
                  <p:cNvSpPr>
                    <a:spLocks noChangeArrowheads="1"/>
                  </p:cNvSpPr>
                  <p:nvPr/>
                </p:nvSpPr>
                <p:spPr bwMode="auto">
                  <a:xfrm>
                    <a:off x="5426076" y="390048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2" name="Freeform 218">
                    <a:extLst>
                      <a:ext uri="{FF2B5EF4-FFF2-40B4-BE49-F238E27FC236}">
                        <a16:creationId xmlns:a16="http://schemas.microsoft.com/office/drawing/2014/main" id="{549D1C4C-58BF-3E42-8308-C22A9ED6B33B}"/>
                      </a:ext>
                    </a:extLst>
                  </p:cNvPr>
                  <p:cNvSpPr>
                    <a:spLocks noEditPoints="1"/>
                  </p:cNvSpPr>
                  <p:nvPr/>
                </p:nvSpPr>
                <p:spPr bwMode="auto">
                  <a:xfrm>
                    <a:off x="5662613"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3" name="Freeform 219">
                    <a:extLst>
                      <a:ext uri="{FF2B5EF4-FFF2-40B4-BE49-F238E27FC236}">
                        <a16:creationId xmlns:a16="http://schemas.microsoft.com/office/drawing/2014/main" id="{5DB93C18-44F5-5D44-9EF1-19EEC9A5F830}"/>
                      </a:ext>
                    </a:extLst>
                  </p:cNvPr>
                  <p:cNvSpPr>
                    <a:spLocks noEditPoints="1"/>
                  </p:cNvSpPr>
                  <p:nvPr/>
                </p:nvSpPr>
                <p:spPr bwMode="auto">
                  <a:xfrm>
                    <a:off x="5395913"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4" name="Freeform 220">
                    <a:extLst>
                      <a:ext uri="{FF2B5EF4-FFF2-40B4-BE49-F238E27FC236}">
                        <a16:creationId xmlns:a16="http://schemas.microsoft.com/office/drawing/2014/main" id="{1A1CC7DE-CA0D-E64A-A2FD-951D729C13AD}"/>
                      </a:ext>
                    </a:extLst>
                  </p:cNvPr>
                  <p:cNvSpPr>
                    <a:spLocks noEditPoints="1"/>
                  </p:cNvSpPr>
                  <p:nvPr/>
                </p:nvSpPr>
                <p:spPr bwMode="auto">
                  <a:xfrm>
                    <a:off x="5395913" y="3368675"/>
                    <a:ext cx="133350"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5" name="Freeform 221">
                    <a:extLst>
                      <a:ext uri="{FF2B5EF4-FFF2-40B4-BE49-F238E27FC236}">
                        <a16:creationId xmlns:a16="http://schemas.microsoft.com/office/drawing/2014/main" id="{B6706824-6802-6C4A-9269-0D6E0AD9CE96}"/>
                      </a:ext>
                    </a:extLst>
                  </p:cNvPr>
                  <p:cNvSpPr>
                    <a:spLocks noEditPoints="1"/>
                  </p:cNvSpPr>
                  <p:nvPr/>
                </p:nvSpPr>
                <p:spPr bwMode="auto">
                  <a:xfrm>
                    <a:off x="5662613"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6" name="Freeform 222">
                    <a:extLst>
                      <a:ext uri="{FF2B5EF4-FFF2-40B4-BE49-F238E27FC236}">
                        <a16:creationId xmlns:a16="http://schemas.microsoft.com/office/drawing/2014/main" id="{F53C8A1D-3CD8-EE4C-B715-0BF271CF63D1}"/>
                      </a:ext>
                    </a:extLst>
                  </p:cNvPr>
                  <p:cNvSpPr>
                    <a:spLocks noEditPoints="1"/>
                  </p:cNvSpPr>
                  <p:nvPr/>
                </p:nvSpPr>
                <p:spPr bwMode="auto">
                  <a:xfrm>
                    <a:off x="4913313"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7" name="Freeform 223">
                    <a:extLst>
                      <a:ext uri="{FF2B5EF4-FFF2-40B4-BE49-F238E27FC236}">
                        <a16:creationId xmlns:a16="http://schemas.microsoft.com/office/drawing/2014/main" id="{E2C16A40-EBC0-7843-B60D-E635B7D48FBA}"/>
                      </a:ext>
                    </a:extLst>
                  </p:cNvPr>
                  <p:cNvSpPr>
                    <a:spLocks noEditPoints="1"/>
                  </p:cNvSpPr>
                  <p:nvPr/>
                </p:nvSpPr>
                <p:spPr bwMode="auto">
                  <a:xfrm>
                    <a:off x="5156201"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8" name="Freeform 224">
                    <a:extLst>
                      <a:ext uri="{FF2B5EF4-FFF2-40B4-BE49-F238E27FC236}">
                        <a16:creationId xmlns:a16="http://schemas.microsoft.com/office/drawing/2014/main" id="{99698989-060E-E543-BD23-00E1FE05D115}"/>
                      </a:ext>
                    </a:extLst>
                  </p:cNvPr>
                  <p:cNvSpPr>
                    <a:spLocks noEditPoints="1"/>
                  </p:cNvSpPr>
                  <p:nvPr/>
                </p:nvSpPr>
                <p:spPr bwMode="auto">
                  <a:xfrm>
                    <a:off x="5156201"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59" name="Freeform 225">
                    <a:extLst>
                      <a:ext uri="{FF2B5EF4-FFF2-40B4-BE49-F238E27FC236}">
                        <a16:creationId xmlns:a16="http://schemas.microsoft.com/office/drawing/2014/main" id="{84DBA828-CA54-1349-8FFA-D9679308514F}"/>
                      </a:ext>
                    </a:extLst>
                  </p:cNvPr>
                  <p:cNvSpPr>
                    <a:spLocks noEditPoints="1"/>
                  </p:cNvSpPr>
                  <p:nvPr/>
                </p:nvSpPr>
                <p:spPr bwMode="auto">
                  <a:xfrm>
                    <a:off x="5662613" y="2862263"/>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160" name="Freeform 226">
                    <a:extLst>
                      <a:ext uri="{FF2B5EF4-FFF2-40B4-BE49-F238E27FC236}">
                        <a16:creationId xmlns:a16="http://schemas.microsoft.com/office/drawing/2014/main" id="{AAA04B2F-0C09-2542-922F-E7C519B5508C}"/>
                      </a:ext>
                    </a:extLst>
                  </p:cNvPr>
                  <p:cNvSpPr>
                    <a:spLocks noEditPoints="1"/>
                  </p:cNvSpPr>
                  <p:nvPr/>
                </p:nvSpPr>
                <p:spPr bwMode="auto">
                  <a:xfrm>
                    <a:off x="4913313"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fontScale="250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grpSp>
          </p:grpSp>
          <p:grpSp>
            <p:nvGrpSpPr>
              <p:cNvPr id="129" name="Group 128">
                <a:extLst>
                  <a:ext uri="{FF2B5EF4-FFF2-40B4-BE49-F238E27FC236}">
                    <a16:creationId xmlns:a16="http://schemas.microsoft.com/office/drawing/2014/main" id="{C3E146E8-E1F2-9543-8A26-A76593D2D1E3}"/>
                  </a:ext>
                </a:extLst>
              </p:cNvPr>
              <p:cNvGrpSpPr/>
              <p:nvPr/>
            </p:nvGrpSpPr>
            <p:grpSpPr>
              <a:xfrm rot="10800000" flipH="1" flipV="1">
                <a:off x="3252980" y="2524880"/>
                <a:ext cx="319215" cy="931495"/>
                <a:chOff x="6496353" y="1906732"/>
                <a:chExt cx="319215" cy="931495"/>
              </a:xfrm>
            </p:grpSpPr>
            <p:sp>
              <p:nvSpPr>
                <p:cNvPr id="134" name="Arc 133">
                  <a:extLst>
                    <a:ext uri="{FF2B5EF4-FFF2-40B4-BE49-F238E27FC236}">
                      <a16:creationId xmlns:a16="http://schemas.microsoft.com/office/drawing/2014/main" id="{D640B645-6EA4-E74E-84E6-8B9CD3C8DCA7}"/>
                    </a:ext>
                  </a:extLst>
                </p:cNvPr>
                <p:cNvSpPr/>
                <p:nvPr/>
              </p:nvSpPr>
              <p:spPr>
                <a:xfrm rot="5400000">
                  <a:off x="6393561" y="2418520"/>
                  <a:ext cx="522499" cy="316916"/>
                </a:xfrm>
                <a:prstGeom prst="arc">
                  <a:avLst/>
                </a:prstGeom>
                <a:noFill/>
                <a:ln w="38100" cap="flat" cmpd="sng" algn="ctr">
                  <a:solidFill>
                    <a:srgbClr val="6EBE4A"/>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35" name="Arc 134">
                  <a:extLst>
                    <a:ext uri="{FF2B5EF4-FFF2-40B4-BE49-F238E27FC236}">
                      <a16:creationId xmlns:a16="http://schemas.microsoft.com/office/drawing/2014/main" id="{34C38C7C-DFC5-0A48-B09A-77365B5F9886}"/>
                    </a:ext>
                  </a:extLst>
                </p:cNvPr>
                <p:cNvSpPr/>
                <p:nvPr/>
              </p:nvSpPr>
              <p:spPr>
                <a:xfrm rot="5400000">
                  <a:off x="6395860" y="2281458"/>
                  <a:ext cx="522499" cy="316916"/>
                </a:xfrm>
                <a:prstGeom prst="arc">
                  <a:avLst/>
                </a:prstGeom>
                <a:noFill/>
                <a:ln w="38100" cap="flat" cmpd="sng" algn="ctr">
                  <a:solidFill>
                    <a:srgbClr val="6EBE4A"/>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36" name="Arc 135">
                  <a:extLst>
                    <a:ext uri="{FF2B5EF4-FFF2-40B4-BE49-F238E27FC236}">
                      <a16:creationId xmlns:a16="http://schemas.microsoft.com/office/drawing/2014/main" id="{6114F7D1-F44B-B34F-A4D1-0EE822BBFA22}"/>
                    </a:ext>
                  </a:extLst>
                </p:cNvPr>
                <p:cNvSpPr/>
                <p:nvPr/>
              </p:nvSpPr>
              <p:spPr>
                <a:xfrm rot="5400000">
                  <a:off x="6395860" y="2145761"/>
                  <a:ext cx="522499" cy="316916"/>
                </a:xfrm>
                <a:prstGeom prst="arc">
                  <a:avLst/>
                </a:prstGeom>
                <a:noFill/>
                <a:ln w="38100" cap="flat" cmpd="sng" algn="ctr">
                  <a:solidFill>
                    <a:srgbClr val="6EBE4A"/>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37" name="Arc 136">
                  <a:extLst>
                    <a:ext uri="{FF2B5EF4-FFF2-40B4-BE49-F238E27FC236}">
                      <a16:creationId xmlns:a16="http://schemas.microsoft.com/office/drawing/2014/main" id="{BD57A9F2-F0A0-AC42-98D3-60C9EEBFC252}"/>
                    </a:ext>
                  </a:extLst>
                </p:cNvPr>
                <p:cNvSpPr/>
                <p:nvPr/>
              </p:nvSpPr>
              <p:spPr>
                <a:xfrm rot="5400000">
                  <a:off x="6395860" y="2009524"/>
                  <a:ext cx="522499" cy="316916"/>
                </a:xfrm>
                <a:prstGeom prst="arc">
                  <a:avLst/>
                </a:prstGeom>
                <a:noFill/>
                <a:ln w="38100" cap="flat" cmpd="sng" algn="ctr">
                  <a:solidFill>
                    <a:srgbClr val="6EBE4A"/>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138" name="Straight Connector 137">
                  <a:extLst>
                    <a:ext uri="{FF2B5EF4-FFF2-40B4-BE49-F238E27FC236}">
                      <a16:creationId xmlns:a16="http://schemas.microsoft.com/office/drawing/2014/main" id="{5E27C88A-3593-BA4B-ADED-DFDDC6101E34}"/>
                    </a:ext>
                  </a:extLst>
                </p:cNvPr>
                <p:cNvCxnSpPr>
                  <a:cxnSpLocks/>
                  <a:endCxn id="132" idx="2"/>
                </p:cNvCxnSpPr>
                <p:nvPr/>
              </p:nvCxnSpPr>
              <p:spPr>
                <a:xfrm rot="10800000">
                  <a:off x="6810806" y="2217616"/>
                  <a:ext cx="4762" cy="381172"/>
                </a:xfrm>
                <a:prstGeom prst="line">
                  <a:avLst/>
                </a:prstGeom>
                <a:noFill/>
                <a:ln w="38100" cap="flat" cmpd="sng" algn="ctr">
                  <a:solidFill>
                    <a:srgbClr val="6EBE4A"/>
                  </a:solidFill>
                  <a:prstDash val="solid"/>
                </a:ln>
                <a:effectLst/>
              </p:spPr>
            </p:cxnSp>
          </p:grpSp>
          <p:sp>
            <p:nvSpPr>
              <p:cNvPr id="130" name="Arc 129">
                <a:extLst>
                  <a:ext uri="{FF2B5EF4-FFF2-40B4-BE49-F238E27FC236}">
                    <a16:creationId xmlns:a16="http://schemas.microsoft.com/office/drawing/2014/main" id="{E61B0889-40B7-AA42-B0E4-59896840B2F7}"/>
                  </a:ext>
                </a:extLst>
              </p:cNvPr>
              <p:cNvSpPr/>
              <p:nvPr/>
            </p:nvSpPr>
            <p:spPr>
              <a:xfrm rot="5400000" flipH="1">
                <a:off x="3914796" y="2571835"/>
                <a:ext cx="534482" cy="527856"/>
              </a:xfrm>
              <a:prstGeom prst="arc">
                <a:avLst/>
              </a:prstGeom>
              <a:noFill/>
              <a:ln w="38100" cap="flat" cmpd="sng" algn="ctr">
                <a:solidFill>
                  <a:srgbClr val="6EBE4A"/>
                </a:solidFill>
                <a:prstDash val="solid"/>
              </a:ln>
              <a:effectLst/>
            </p:spPr>
            <p:txBody>
              <a:bodyPr rtlCol="0" anchor="ctr">
                <a:normAutofit fontScale="70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131" name="Straight Connector 130">
                <a:extLst>
                  <a:ext uri="{FF2B5EF4-FFF2-40B4-BE49-F238E27FC236}">
                    <a16:creationId xmlns:a16="http://schemas.microsoft.com/office/drawing/2014/main" id="{1CF7215A-75EA-B949-B3B5-126EF7D57D77}"/>
                  </a:ext>
                </a:extLst>
              </p:cNvPr>
              <p:cNvCxnSpPr>
                <a:cxnSpLocks/>
              </p:cNvCxnSpPr>
              <p:nvPr/>
            </p:nvCxnSpPr>
            <p:spPr>
              <a:xfrm flipV="1">
                <a:off x="4445132" y="2825210"/>
                <a:ext cx="3358" cy="1350428"/>
              </a:xfrm>
              <a:prstGeom prst="line">
                <a:avLst/>
              </a:prstGeom>
              <a:noFill/>
              <a:ln w="38100" cap="flat" cmpd="sng" algn="ctr">
                <a:solidFill>
                  <a:srgbClr val="6EBE4A"/>
                </a:solidFill>
                <a:prstDash val="solid"/>
              </a:ln>
              <a:effectLst/>
            </p:spPr>
          </p:cxnSp>
          <p:sp>
            <p:nvSpPr>
              <p:cNvPr id="132" name="Arc 131">
                <a:extLst>
                  <a:ext uri="{FF2B5EF4-FFF2-40B4-BE49-F238E27FC236}">
                    <a16:creationId xmlns:a16="http://schemas.microsoft.com/office/drawing/2014/main" id="{47DFCEFA-63A5-1340-A8C0-AF44C9CAB6FC}"/>
                  </a:ext>
                </a:extLst>
              </p:cNvPr>
              <p:cNvSpPr/>
              <p:nvPr/>
            </p:nvSpPr>
            <p:spPr>
              <a:xfrm flipH="1">
                <a:off x="3567433" y="2574146"/>
                <a:ext cx="522499" cy="523236"/>
              </a:xfrm>
              <a:prstGeom prst="arc">
                <a:avLst/>
              </a:prstGeom>
              <a:noFill/>
              <a:ln w="38100" cap="flat" cmpd="sng" algn="ctr">
                <a:solidFill>
                  <a:srgbClr val="6EBE4A"/>
                </a:solidFill>
                <a:prstDash val="solid"/>
              </a:ln>
              <a:effectLst/>
            </p:spPr>
            <p:txBody>
              <a:bodyPr rtlCol="0" anchor="ctr">
                <a:normAutofit fontScale="70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133" name="Straight Connector 132">
                <a:extLst>
                  <a:ext uri="{FF2B5EF4-FFF2-40B4-BE49-F238E27FC236}">
                    <a16:creationId xmlns:a16="http://schemas.microsoft.com/office/drawing/2014/main" id="{4C240E1C-02A3-864E-B74B-149E89952B73}"/>
                  </a:ext>
                </a:extLst>
              </p:cNvPr>
              <p:cNvCxnSpPr>
                <a:cxnSpLocks/>
              </p:cNvCxnSpPr>
              <p:nvPr/>
            </p:nvCxnSpPr>
            <p:spPr>
              <a:xfrm flipH="1">
                <a:off x="3824564" y="2568079"/>
                <a:ext cx="361820" cy="6557"/>
              </a:xfrm>
              <a:prstGeom prst="line">
                <a:avLst/>
              </a:prstGeom>
              <a:noFill/>
              <a:ln w="38100" cap="flat" cmpd="sng" algn="ctr">
                <a:solidFill>
                  <a:srgbClr val="6EBE4A"/>
                </a:solidFill>
                <a:prstDash val="solid"/>
              </a:ln>
              <a:effectLst/>
            </p:spPr>
          </p:cxnSp>
        </p:grpSp>
        <p:grpSp>
          <p:nvGrpSpPr>
            <p:cNvPr id="73" name="Group 72">
              <a:extLst>
                <a:ext uri="{FF2B5EF4-FFF2-40B4-BE49-F238E27FC236}">
                  <a16:creationId xmlns:a16="http://schemas.microsoft.com/office/drawing/2014/main" id="{009BB409-8AF9-FF4E-82B1-80CCE172D696}"/>
                </a:ext>
              </a:extLst>
            </p:cNvPr>
            <p:cNvGrpSpPr/>
            <p:nvPr/>
          </p:nvGrpSpPr>
          <p:grpSpPr>
            <a:xfrm>
              <a:off x="4376489" y="700782"/>
              <a:ext cx="3103851" cy="2218396"/>
              <a:chOff x="532385" y="980361"/>
              <a:chExt cx="4039616" cy="2812804"/>
            </a:xfrm>
          </p:grpSpPr>
          <p:grpSp>
            <p:nvGrpSpPr>
              <p:cNvPr id="92" name="Group 91">
                <a:extLst>
                  <a:ext uri="{FF2B5EF4-FFF2-40B4-BE49-F238E27FC236}">
                    <a16:creationId xmlns:a16="http://schemas.microsoft.com/office/drawing/2014/main" id="{56D1B5A7-1D6A-3A4C-A2AD-A01EA83922CC}"/>
                  </a:ext>
                </a:extLst>
              </p:cNvPr>
              <p:cNvGrpSpPr/>
              <p:nvPr/>
            </p:nvGrpSpPr>
            <p:grpSpPr>
              <a:xfrm>
                <a:off x="532385" y="980361"/>
                <a:ext cx="4039616" cy="992963"/>
                <a:chOff x="532385" y="980361"/>
                <a:chExt cx="4039616" cy="992963"/>
              </a:xfrm>
            </p:grpSpPr>
            <p:sp>
              <p:nvSpPr>
                <p:cNvPr id="103" name="Rectangle: Rounded Corners 157">
                  <a:extLst>
                    <a:ext uri="{FF2B5EF4-FFF2-40B4-BE49-F238E27FC236}">
                      <a16:creationId xmlns:a16="http://schemas.microsoft.com/office/drawing/2014/main" id="{77785CAF-BB0F-D84F-B4E3-9A10DD265DF9}"/>
                    </a:ext>
                  </a:extLst>
                </p:cNvPr>
                <p:cNvSpPr/>
                <p:nvPr/>
              </p:nvSpPr>
              <p:spPr>
                <a:xfrm>
                  <a:off x="532385" y="1231902"/>
                  <a:ext cx="4039616" cy="741422"/>
                </a:xfrm>
                <a:prstGeom prst="roundRect">
                  <a:avLst>
                    <a:gd name="adj" fmla="val 19167"/>
                  </a:avLst>
                </a:prstGeom>
                <a:noFill/>
                <a:ln w="34925" cap="flat" cmpd="sng" algn="ctr">
                  <a:solidFill>
                    <a:srgbClr val="00BCEB"/>
                  </a:solidFill>
                  <a:prstDash val="solid"/>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endParaRPr>
                </a:p>
              </p:txBody>
            </p:sp>
            <p:sp>
              <p:nvSpPr>
                <p:cNvPr id="104" name="TextBox 103">
                  <a:extLst>
                    <a:ext uri="{FF2B5EF4-FFF2-40B4-BE49-F238E27FC236}">
                      <a16:creationId xmlns:a16="http://schemas.microsoft.com/office/drawing/2014/main" id="{805922B0-FB7E-3943-B049-B23516573D20}"/>
                    </a:ext>
                  </a:extLst>
                </p:cNvPr>
                <p:cNvSpPr txBox="1">
                  <a:spLocks/>
                </p:cNvSpPr>
                <p:nvPr/>
              </p:nvSpPr>
              <p:spPr>
                <a:xfrm>
                  <a:off x="1895093" y="980361"/>
                  <a:ext cx="1260982" cy="215444"/>
                </a:xfrm>
                <a:prstGeom prst="rect">
                  <a:avLst/>
                </a:prstGeom>
                <a:noFill/>
              </p:spPr>
              <p:txBody>
                <a:bodyPr wrap="square" lIns="0" tIns="0" rIns="0" bIns="0" rtlCol="0" anchor="ctr">
                  <a:normAutofit fontScale="77500" lnSpcReduction="20000"/>
                </a:bodyPr>
                <a:lstStyle/>
                <a:p>
                  <a:pPr marL="0" marR="0" lvl="0" indent="0" algn="ctr" defTabSz="456974" eaLnBrk="1" fontAlgn="base" latinLnBrk="0" hangingPunct="1">
                    <a:lnSpc>
                      <a:spcPct val="100000"/>
                    </a:lnSpc>
                    <a:spcBef>
                      <a:spcPts val="100"/>
                    </a:spcBef>
                    <a:spcAft>
                      <a:spcPct val="0"/>
                    </a:spcAft>
                    <a:buClrTx/>
                    <a:buSzTx/>
                    <a:buFontTx/>
                    <a:buNone/>
                    <a:tabLst/>
                    <a:defRPr/>
                  </a:pPr>
                  <a:r>
                    <a:rPr kumimoji="0" lang="en-US" sz="1400" b="0" i="0" u="none" strike="noStrike" kern="0" cap="none" spc="0" normalizeH="0" baseline="0" noProof="0" dirty="0">
                      <a:ln>
                        <a:noFill/>
                      </a:ln>
                      <a:solidFill>
                        <a:srgbClr val="00BCEB"/>
                      </a:solidFill>
                      <a:effectLst/>
                      <a:uLnTx/>
                      <a:uFillTx/>
                      <a:latin typeface="CiscoSansTT" panose="020B0503020201020303" pitchFamily="34" charset="0"/>
                      <a:ea typeface="ＭＳ Ｐゴシック" charset="0"/>
                      <a:cs typeface="CiscoSansTT" panose="020B0503020201020303" pitchFamily="34" charset="0"/>
                    </a:rPr>
                    <a:t>Cisco Security</a:t>
                  </a:r>
                </a:p>
              </p:txBody>
            </p:sp>
            <p:sp>
              <p:nvSpPr>
                <p:cNvPr id="105" name="TextBox 104">
                  <a:extLst>
                    <a:ext uri="{FF2B5EF4-FFF2-40B4-BE49-F238E27FC236}">
                      <a16:creationId xmlns:a16="http://schemas.microsoft.com/office/drawing/2014/main" id="{D0A13C35-FE9D-1C43-AF0B-4C9482579AD6}"/>
                    </a:ext>
                  </a:extLst>
                </p:cNvPr>
                <p:cNvSpPr txBox="1">
                  <a:spLocks/>
                </p:cNvSpPr>
                <p:nvPr/>
              </p:nvSpPr>
              <p:spPr>
                <a:xfrm>
                  <a:off x="3497115" y="1749703"/>
                  <a:ext cx="851337" cy="200745"/>
                </a:xfrm>
                <a:prstGeom prst="roundRect">
                  <a:avLst/>
                </a:prstGeom>
                <a:noFill/>
              </p:spPr>
              <p:txBody>
                <a:bodyPr wrap="square" lIns="0" tIns="0" rIns="0" bIns="0" rtlCol="0" anchor="ctr">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Applications</a:t>
                  </a:r>
                </a:p>
              </p:txBody>
            </p:sp>
            <p:sp>
              <p:nvSpPr>
                <p:cNvPr id="106" name="TextBox 105">
                  <a:extLst>
                    <a:ext uri="{FF2B5EF4-FFF2-40B4-BE49-F238E27FC236}">
                      <a16:creationId xmlns:a16="http://schemas.microsoft.com/office/drawing/2014/main" id="{DFD2D074-EA83-EF47-A108-F29D87996B6F}"/>
                    </a:ext>
                  </a:extLst>
                </p:cNvPr>
                <p:cNvSpPr txBox="1">
                  <a:spLocks/>
                </p:cNvSpPr>
                <p:nvPr/>
              </p:nvSpPr>
              <p:spPr>
                <a:xfrm>
                  <a:off x="1642567" y="1749703"/>
                  <a:ext cx="763207" cy="200745"/>
                </a:xfrm>
                <a:prstGeom prst="roundRect">
                  <a:avLst/>
                </a:prstGeom>
                <a:noFill/>
              </p:spPr>
              <p:txBody>
                <a:bodyPr wrap="square" lIns="0" tIns="0" rIns="0" bIns="0" rtlCol="0" anchor="ctr">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Endpoint</a:t>
                  </a:r>
                </a:p>
              </p:txBody>
            </p:sp>
            <p:sp>
              <p:nvSpPr>
                <p:cNvPr id="107" name="TextBox 106">
                  <a:extLst>
                    <a:ext uri="{FF2B5EF4-FFF2-40B4-BE49-F238E27FC236}">
                      <a16:creationId xmlns:a16="http://schemas.microsoft.com/office/drawing/2014/main" id="{8520232F-E0CD-3B45-B40F-C874B95901F9}"/>
                    </a:ext>
                  </a:extLst>
                </p:cNvPr>
                <p:cNvSpPr txBox="1">
                  <a:spLocks/>
                </p:cNvSpPr>
                <p:nvPr/>
              </p:nvSpPr>
              <p:spPr>
                <a:xfrm>
                  <a:off x="799210" y="1749703"/>
                  <a:ext cx="595377" cy="200745"/>
                </a:xfrm>
                <a:prstGeom prst="roundRect">
                  <a:avLst/>
                </a:prstGeom>
                <a:noFill/>
              </p:spPr>
              <p:txBody>
                <a:bodyPr wrap="square" lIns="0" tIns="0" rIns="0" bIns="0" rtlCol="0" anchor="ctr">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Network</a:t>
                  </a:r>
                </a:p>
              </p:txBody>
            </p:sp>
            <p:sp>
              <p:nvSpPr>
                <p:cNvPr id="108" name="TextBox 107">
                  <a:extLst>
                    <a:ext uri="{FF2B5EF4-FFF2-40B4-BE49-F238E27FC236}">
                      <a16:creationId xmlns:a16="http://schemas.microsoft.com/office/drawing/2014/main" id="{322FC961-9FD9-9444-AE11-17C962487D86}"/>
                    </a:ext>
                  </a:extLst>
                </p:cNvPr>
                <p:cNvSpPr txBox="1">
                  <a:spLocks/>
                </p:cNvSpPr>
                <p:nvPr/>
              </p:nvSpPr>
              <p:spPr>
                <a:xfrm>
                  <a:off x="2653756" y="1749703"/>
                  <a:ext cx="595377" cy="200745"/>
                </a:xfrm>
                <a:prstGeom prst="roundRect">
                  <a:avLst/>
                </a:prstGeom>
                <a:noFill/>
              </p:spPr>
              <p:txBody>
                <a:bodyPr wrap="square" lIns="0" tIns="0" rIns="0" bIns="0" rtlCol="0" anchor="ctr">
                  <a:normAutofit/>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chemeClr val="bg1"/>
                      </a:solidFill>
                      <a:effectLst/>
                      <a:uLnTx/>
                      <a:uFillTx/>
                      <a:ea typeface="ＭＳ Ｐゴシック" charset="0"/>
                    </a:rPr>
                    <a:t>Cloud</a:t>
                  </a:r>
                </a:p>
              </p:txBody>
            </p:sp>
            <p:sp>
              <p:nvSpPr>
                <p:cNvPr id="109" name="Oval 108">
                  <a:extLst>
                    <a:ext uri="{FF2B5EF4-FFF2-40B4-BE49-F238E27FC236}">
                      <a16:creationId xmlns:a16="http://schemas.microsoft.com/office/drawing/2014/main" id="{2B7C247E-70EC-2A43-BD1F-B9E29DADA38C}"/>
                    </a:ext>
                  </a:extLst>
                </p:cNvPr>
                <p:cNvSpPr/>
                <p:nvPr/>
              </p:nvSpPr>
              <p:spPr>
                <a:xfrm>
                  <a:off x="898144" y="1347644"/>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10" name="Oval 109">
                  <a:extLst>
                    <a:ext uri="{FF2B5EF4-FFF2-40B4-BE49-F238E27FC236}">
                      <a16:creationId xmlns:a16="http://schemas.microsoft.com/office/drawing/2014/main" id="{A6025BF2-2B17-7848-A643-7307644F006F}"/>
                    </a:ext>
                  </a:extLst>
                </p:cNvPr>
                <p:cNvSpPr/>
                <p:nvPr/>
              </p:nvSpPr>
              <p:spPr>
                <a:xfrm>
                  <a:off x="1825417" y="1347644"/>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11" name="Oval 110">
                  <a:extLst>
                    <a:ext uri="{FF2B5EF4-FFF2-40B4-BE49-F238E27FC236}">
                      <a16:creationId xmlns:a16="http://schemas.microsoft.com/office/drawing/2014/main" id="{A735F031-50F1-2747-944E-31131A26CFF6}"/>
                    </a:ext>
                  </a:extLst>
                </p:cNvPr>
                <p:cNvSpPr/>
                <p:nvPr/>
              </p:nvSpPr>
              <p:spPr>
                <a:xfrm>
                  <a:off x="2752690" y="1347644"/>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12" name="Oval 111">
                  <a:extLst>
                    <a:ext uri="{FF2B5EF4-FFF2-40B4-BE49-F238E27FC236}">
                      <a16:creationId xmlns:a16="http://schemas.microsoft.com/office/drawing/2014/main" id="{D1B3B389-1819-EB4D-BD07-BE839DEABAA7}"/>
                    </a:ext>
                  </a:extLst>
                </p:cNvPr>
                <p:cNvSpPr/>
                <p:nvPr/>
              </p:nvSpPr>
              <p:spPr>
                <a:xfrm>
                  <a:off x="3724029" y="1347644"/>
                  <a:ext cx="397509" cy="397509"/>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113" name="Graphic 112">
                  <a:extLst>
                    <a:ext uri="{FF2B5EF4-FFF2-40B4-BE49-F238E27FC236}">
                      <a16:creationId xmlns:a16="http://schemas.microsoft.com/office/drawing/2014/main" id="{A76CD034-9401-7B4D-9BCF-F401D88D628B}"/>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822978" y="1465674"/>
                  <a:ext cx="199610" cy="161449"/>
                </a:xfrm>
                <a:prstGeom prst="rect">
                  <a:avLst/>
                </a:prstGeom>
              </p:spPr>
            </p:pic>
            <p:pic>
              <p:nvPicPr>
                <p:cNvPr id="114" name="Graphic 113">
                  <a:extLst>
                    <a:ext uri="{FF2B5EF4-FFF2-40B4-BE49-F238E27FC236}">
                      <a16:creationId xmlns:a16="http://schemas.microsoft.com/office/drawing/2014/main" id="{FF68AF3F-F8A1-6D49-9648-8AFA7908FB68}"/>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807317" y="1402271"/>
                  <a:ext cx="288255" cy="288255"/>
                </a:xfrm>
                <a:prstGeom prst="rect">
                  <a:avLst/>
                </a:prstGeom>
              </p:spPr>
            </p:pic>
            <p:pic>
              <p:nvPicPr>
                <p:cNvPr id="115" name="Graphic 114">
                  <a:extLst>
                    <a:ext uri="{FF2B5EF4-FFF2-40B4-BE49-F238E27FC236}">
                      <a16:creationId xmlns:a16="http://schemas.microsoft.com/office/drawing/2014/main" id="{79BD03B0-65C9-9D4A-8186-D21327552D76}"/>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877417" y="1399644"/>
                  <a:ext cx="293509" cy="293509"/>
                </a:xfrm>
                <a:prstGeom prst="rect">
                  <a:avLst/>
                </a:prstGeom>
              </p:spPr>
            </p:pic>
            <p:pic>
              <p:nvPicPr>
                <p:cNvPr id="116" name="Graphic 115">
                  <a:extLst>
                    <a:ext uri="{FF2B5EF4-FFF2-40B4-BE49-F238E27FC236}">
                      <a16:creationId xmlns:a16="http://schemas.microsoft.com/office/drawing/2014/main" id="{C37FDF9E-54C4-C84F-956F-1E433654AD3B}"/>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962999" y="1412499"/>
                  <a:ext cx="267798" cy="267798"/>
                </a:xfrm>
                <a:prstGeom prst="rect">
                  <a:avLst/>
                </a:prstGeom>
              </p:spPr>
            </p:pic>
          </p:grpSp>
          <p:grpSp>
            <p:nvGrpSpPr>
              <p:cNvPr id="93" name="Group 92">
                <a:extLst>
                  <a:ext uri="{FF2B5EF4-FFF2-40B4-BE49-F238E27FC236}">
                    <a16:creationId xmlns:a16="http://schemas.microsoft.com/office/drawing/2014/main" id="{C565A1AC-5229-3045-896C-3A044E8AD6B3}"/>
                  </a:ext>
                </a:extLst>
              </p:cNvPr>
              <p:cNvGrpSpPr/>
              <p:nvPr/>
            </p:nvGrpSpPr>
            <p:grpSpPr>
              <a:xfrm>
                <a:off x="757677" y="1977097"/>
                <a:ext cx="1034636" cy="1816068"/>
                <a:chOff x="757677" y="1977097"/>
                <a:chExt cx="1034636" cy="1816068"/>
              </a:xfrm>
            </p:grpSpPr>
            <p:sp>
              <p:nvSpPr>
                <p:cNvPr id="94" name="Arc 93">
                  <a:extLst>
                    <a:ext uri="{FF2B5EF4-FFF2-40B4-BE49-F238E27FC236}">
                      <a16:creationId xmlns:a16="http://schemas.microsoft.com/office/drawing/2014/main" id="{167FEB51-0E54-9946-A7F5-9F6BD6442B37}"/>
                    </a:ext>
                  </a:extLst>
                </p:cNvPr>
                <p:cNvSpPr/>
                <p:nvPr/>
              </p:nvSpPr>
              <p:spPr>
                <a:xfrm rot="16200000">
                  <a:off x="1372605" y="2879533"/>
                  <a:ext cx="522499" cy="316916"/>
                </a:xfrm>
                <a:prstGeom prst="arc">
                  <a:avLst/>
                </a:prstGeom>
                <a:noFill/>
                <a:ln w="38100" cap="flat" cmpd="sng" algn="ctr">
                  <a:solidFill>
                    <a:srgbClr val="00BCEB">
                      <a:shade val="95000"/>
                      <a:satMod val="105000"/>
                    </a:srgbClr>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95" name="Arc 94">
                  <a:extLst>
                    <a:ext uri="{FF2B5EF4-FFF2-40B4-BE49-F238E27FC236}">
                      <a16:creationId xmlns:a16="http://schemas.microsoft.com/office/drawing/2014/main" id="{F88043F0-0041-6F40-938B-7F0AE3DFDC4F}"/>
                    </a:ext>
                  </a:extLst>
                </p:cNvPr>
                <p:cNvSpPr/>
                <p:nvPr/>
              </p:nvSpPr>
              <p:spPr>
                <a:xfrm rot="16200000">
                  <a:off x="1370306" y="3016595"/>
                  <a:ext cx="522499" cy="316916"/>
                </a:xfrm>
                <a:prstGeom prst="arc">
                  <a:avLst/>
                </a:prstGeom>
                <a:noFill/>
                <a:ln w="38100" cap="flat" cmpd="sng" algn="ctr">
                  <a:solidFill>
                    <a:srgbClr val="00BCEB">
                      <a:shade val="95000"/>
                      <a:satMod val="105000"/>
                    </a:srgbClr>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96" name="Arc 95">
                  <a:extLst>
                    <a:ext uri="{FF2B5EF4-FFF2-40B4-BE49-F238E27FC236}">
                      <a16:creationId xmlns:a16="http://schemas.microsoft.com/office/drawing/2014/main" id="{80778B8D-CC85-D449-B22D-41C7F20D53FB}"/>
                    </a:ext>
                  </a:extLst>
                </p:cNvPr>
                <p:cNvSpPr/>
                <p:nvPr/>
              </p:nvSpPr>
              <p:spPr>
                <a:xfrm rot="16200000">
                  <a:off x="1370306" y="3152292"/>
                  <a:ext cx="522499" cy="316916"/>
                </a:xfrm>
                <a:prstGeom prst="arc">
                  <a:avLst/>
                </a:prstGeom>
                <a:noFill/>
                <a:ln w="38100" cap="flat" cmpd="sng" algn="ctr">
                  <a:solidFill>
                    <a:srgbClr val="00BCEB">
                      <a:shade val="95000"/>
                      <a:satMod val="105000"/>
                    </a:srgbClr>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97" name="Arc 96">
                  <a:extLst>
                    <a:ext uri="{FF2B5EF4-FFF2-40B4-BE49-F238E27FC236}">
                      <a16:creationId xmlns:a16="http://schemas.microsoft.com/office/drawing/2014/main" id="{55268871-AE65-A64D-B98A-6B3E56356B12}"/>
                    </a:ext>
                  </a:extLst>
                </p:cNvPr>
                <p:cNvSpPr/>
                <p:nvPr/>
              </p:nvSpPr>
              <p:spPr>
                <a:xfrm rot="16200000">
                  <a:off x="1370306" y="3288529"/>
                  <a:ext cx="522499" cy="316916"/>
                </a:xfrm>
                <a:prstGeom prst="arc">
                  <a:avLst/>
                </a:prstGeom>
                <a:noFill/>
                <a:ln w="38100" cap="flat" cmpd="sng" algn="ctr">
                  <a:solidFill>
                    <a:srgbClr val="00BCEB">
                      <a:shade val="95000"/>
                      <a:satMod val="105000"/>
                    </a:srgbClr>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98" name="Straight Connector 97">
                  <a:extLst>
                    <a:ext uri="{FF2B5EF4-FFF2-40B4-BE49-F238E27FC236}">
                      <a16:creationId xmlns:a16="http://schemas.microsoft.com/office/drawing/2014/main" id="{449E697F-29E9-814C-B622-ABB264DA5622}"/>
                    </a:ext>
                  </a:extLst>
                </p:cNvPr>
                <p:cNvCxnSpPr>
                  <a:cxnSpLocks/>
                </p:cNvCxnSpPr>
                <p:nvPr/>
              </p:nvCxnSpPr>
              <p:spPr>
                <a:xfrm>
                  <a:off x="1473097" y="3023441"/>
                  <a:ext cx="0" cy="548559"/>
                </a:xfrm>
                <a:prstGeom prst="line">
                  <a:avLst/>
                </a:prstGeom>
                <a:noFill/>
                <a:ln w="38100" cap="flat" cmpd="sng" algn="ctr">
                  <a:solidFill>
                    <a:srgbClr val="00BCEB">
                      <a:shade val="95000"/>
                      <a:satMod val="105000"/>
                    </a:srgbClr>
                  </a:solidFill>
                  <a:prstDash val="solid"/>
                </a:ln>
                <a:effectLst/>
              </p:spPr>
            </p:cxnSp>
            <p:sp>
              <p:nvSpPr>
                <p:cNvPr id="99" name="Arc 98">
                  <a:extLst>
                    <a:ext uri="{FF2B5EF4-FFF2-40B4-BE49-F238E27FC236}">
                      <a16:creationId xmlns:a16="http://schemas.microsoft.com/office/drawing/2014/main" id="{489A95DD-6674-7947-9640-2E0752BA4C50}"/>
                    </a:ext>
                  </a:extLst>
                </p:cNvPr>
                <p:cNvSpPr/>
                <p:nvPr/>
              </p:nvSpPr>
              <p:spPr>
                <a:xfrm rot="5400000">
                  <a:off x="952528" y="3270297"/>
                  <a:ext cx="522499" cy="523236"/>
                </a:xfrm>
                <a:prstGeom prst="arc">
                  <a:avLst/>
                </a:prstGeom>
                <a:noFill/>
                <a:ln w="38100" cap="flat" cmpd="sng" algn="ctr">
                  <a:solidFill>
                    <a:srgbClr val="00BCEB">
                      <a:shade val="95000"/>
                      <a:satMod val="105000"/>
                    </a:srgbClr>
                  </a:solidFill>
                  <a:prstDash val="solid"/>
                </a:ln>
                <a:effectLst/>
              </p:spPr>
              <p:txBody>
                <a:bodyPr rtlCol="0" anchor="ctr">
                  <a:normAutofit fontScale="625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100" name="Arc 99">
                  <a:extLst>
                    <a:ext uri="{FF2B5EF4-FFF2-40B4-BE49-F238E27FC236}">
                      <a16:creationId xmlns:a16="http://schemas.microsoft.com/office/drawing/2014/main" id="{78A34386-532F-254F-B33D-5E7996BF0A9E}"/>
                    </a:ext>
                  </a:extLst>
                </p:cNvPr>
                <p:cNvSpPr/>
                <p:nvPr/>
              </p:nvSpPr>
              <p:spPr>
                <a:xfrm rot="16200000" flipH="1">
                  <a:off x="760409" y="3270297"/>
                  <a:ext cx="522499" cy="523236"/>
                </a:xfrm>
                <a:prstGeom prst="arc">
                  <a:avLst/>
                </a:prstGeom>
                <a:noFill/>
                <a:ln w="38100" cap="flat" cmpd="sng" algn="ctr">
                  <a:solidFill>
                    <a:srgbClr val="00BCEB">
                      <a:shade val="95000"/>
                      <a:satMod val="105000"/>
                    </a:srgbClr>
                  </a:solidFill>
                  <a:prstDash val="solid"/>
                </a:ln>
                <a:effectLst/>
              </p:spPr>
              <p:txBody>
                <a:bodyPr rtlCol="0" anchor="ctr">
                  <a:normAutofit fontScale="625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101" name="Straight Connector 100">
                  <a:extLst>
                    <a:ext uri="{FF2B5EF4-FFF2-40B4-BE49-F238E27FC236}">
                      <a16:creationId xmlns:a16="http://schemas.microsoft.com/office/drawing/2014/main" id="{0BD45577-6DC2-8349-BF6F-9945E4E6013F}"/>
                    </a:ext>
                  </a:extLst>
                </p:cNvPr>
                <p:cNvCxnSpPr>
                  <a:cxnSpLocks/>
                  <a:endCxn id="100" idx="0"/>
                </p:cNvCxnSpPr>
                <p:nvPr/>
              </p:nvCxnSpPr>
              <p:spPr>
                <a:xfrm>
                  <a:off x="757677" y="1977097"/>
                  <a:ext cx="2364" cy="1554818"/>
                </a:xfrm>
                <a:prstGeom prst="line">
                  <a:avLst/>
                </a:prstGeom>
                <a:noFill/>
                <a:ln w="38100" cap="flat" cmpd="sng" algn="ctr">
                  <a:solidFill>
                    <a:srgbClr val="00BCEB">
                      <a:shade val="95000"/>
                      <a:satMod val="105000"/>
                    </a:srgbClr>
                  </a:solidFill>
                  <a:prstDash val="solid"/>
                </a:ln>
                <a:effectLst/>
              </p:spPr>
            </p:cxnSp>
            <p:cxnSp>
              <p:nvCxnSpPr>
                <p:cNvPr id="102" name="Straight Connector 101">
                  <a:extLst>
                    <a:ext uri="{FF2B5EF4-FFF2-40B4-BE49-F238E27FC236}">
                      <a16:creationId xmlns:a16="http://schemas.microsoft.com/office/drawing/2014/main" id="{6F9DA1F3-E96F-2647-86B3-3A3DC99EEBC9}"/>
                    </a:ext>
                  </a:extLst>
                </p:cNvPr>
                <p:cNvCxnSpPr>
                  <a:cxnSpLocks/>
                  <a:stCxn id="100" idx="2"/>
                  <a:endCxn id="99" idx="2"/>
                </p:cNvCxnSpPr>
                <p:nvPr/>
              </p:nvCxnSpPr>
              <p:spPr>
                <a:xfrm>
                  <a:off x="1021659" y="3793165"/>
                  <a:ext cx="192119" cy="0"/>
                </a:xfrm>
                <a:prstGeom prst="line">
                  <a:avLst/>
                </a:prstGeom>
                <a:noFill/>
                <a:ln w="38100" cap="flat" cmpd="sng" algn="ctr">
                  <a:solidFill>
                    <a:srgbClr val="00BCEB">
                      <a:shade val="95000"/>
                      <a:satMod val="105000"/>
                    </a:srgbClr>
                  </a:solidFill>
                  <a:prstDash val="solid"/>
                </a:ln>
                <a:effectLst/>
              </p:spPr>
            </p:cxnSp>
          </p:grpSp>
        </p:grpSp>
        <p:grpSp>
          <p:nvGrpSpPr>
            <p:cNvPr id="75" name="Group 74">
              <a:extLst>
                <a:ext uri="{FF2B5EF4-FFF2-40B4-BE49-F238E27FC236}">
                  <a16:creationId xmlns:a16="http://schemas.microsoft.com/office/drawing/2014/main" id="{6AD3A2E7-9015-7741-A0C9-8EF6C8B6D0A5}"/>
                </a:ext>
              </a:extLst>
            </p:cNvPr>
            <p:cNvGrpSpPr/>
            <p:nvPr/>
          </p:nvGrpSpPr>
          <p:grpSpPr>
            <a:xfrm rot="5400000" flipH="1">
              <a:off x="6771493" y="1142050"/>
              <a:ext cx="260507" cy="1530837"/>
              <a:chOff x="6496353" y="845865"/>
              <a:chExt cx="330308" cy="1992362"/>
            </a:xfrm>
          </p:grpSpPr>
          <p:sp>
            <p:nvSpPr>
              <p:cNvPr id="87" name="Arc 86">
                <a:extLst>
                  <a:ext uri="{FF2B5EF4-FFF2-40B4-BE49-F238E27FC236}">
                    <a16:creationId xmlns:a16="http://schemas.microsoft.com/office/drawing/2014/main" id="{C1BA4B16-6C18-AD42-8BC2-97A38C259369}"/>
                  </a:ext>
                </a:extLst>
              </p:cNvPr>
              <p:cNvSpPr/>
              <p:nvPr/>
            </p:nvSpPr>
            <p:spPr>
              <a:xfrm rot="5400000">
                <a:off x="6393561" y="2418520"/>
                <a:ext cx="522499" cy="316916"/>
              </a:xfrm>
              <a:prstGeom prst="arc">
                <a:avLst/>
              </a:prstGeom>
              <a:noFill/>
              <a:ln w="38100" cap="flat" cmpd="sng" algn="ctr">
                <a:solidFill>
                  <a:srgbClr val="9E9EA2"/>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88" name="Arc 87">
                <a:extLst>
                  <a:ext uri="{FF2B5EF4-FFF2-40B4-BE49-F238E27FC236}">
                    <a16:creationId xmlns:a16="http://schemas.microsoft.com/office/drawing/2014/main" id="{0A6F991B-A72F-374C-B2AA-43F8C9AC5C1F}"/>
                  </a:ext>
                </a:extLst>
              </p:cNvPr>
              <p:cNvSpPr/>
              <p:nvPr/>
            </p:nvSpPr>
            <p:spPr>
              <a:xfrm rot="5400000">
                <a:off x="6395860" y="2281458"/>
                <a:ext cx="522499" cy="316916"/>
              </a:xfrm>
              <a:prstGeom prst="arc">
                <a:avLst/>
              </a:prstGeom>
              <a:noFill/>
              <a:ln w="38100" cap="flat" cmpd="sng" algn="ctr">
                <a:solidFill>
                  <a:srgbClr val="9E9EA2"/>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89" name="Arc 88">
                <a:extLst>
                  <a:ext uri="{FF2B5EF4-FFF2-40B4-BE49-F238E27FC236}">
                    <a16:creationId xmlns:a16="http://schemas.microsoft.com/office/drawing/2014/main" id="{FE525004-621C-BB45-BA12-98673E754DE7}"/>
                  </a:ext>
                </a:extLst>
              </p:cNvPr>
              <p:cNvSpPr/>
              <p:nvPr/>
            </p:nvSpPr>
            <p:spPr>
              <a:xfrm rot="5400000">
                <a:off x="6395860" y="2145761"/>
                <a:ext cx="522499" cy="316916"/>
              </a:xfrm>
              <a:prstGeom prst="arc">
                <a:avLst/>
              </a:prstGeom>
              <a:noFill/>
              <a:ln w="38100" cap="flat" cmpd="sng" algn="ctr">
                <a:solidFill>
                  <a:srgbClr val="9E9EA2"/>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sp>
            <p:nvSpPr>
              <p:cNvPr id="90" name="Arc 89">
                <a:extLst>
                  <a:ext uri="{FF2B5EF4-FFF2-40B4-BE49-F238E27FC236}">
                    <a16:creationId xmlns:a16="http://schemas.microsoft.com/office/drawing/2014/main" id="{88D9FD20-F830-F541-A201-1DD2DD89BAB4}"/>
                  </a:ext>
                </a:extLst>
              </p:cNvPr>
              <p:cNvSpPr/>
              <p:nvPr/>
            </p:nvSpPr>
            <p:spPr>
              <a:xfrm rot="5400000">
                <a:off x="6395860" y="2009524"/>
                <a:ext cx="522499" cy="316916"/>
              </a:xfrm>
              <a:prstGeom prst="arc">
                <a:avLst/>
              </a:prstGeom>
              <a:noFill/>
              <a:ln w="38100" cap="flat" cmpd="sng" algn="ctr">
                <a:solidFill>
                  <a:srgbClr val="9E9EA2"/>
                </a:solidFill>
                <a:prstDash val="solid"/>
              </a:ln>
              <a:effectLst/>
            </p:spPr>
            <p:txBody>
              <a:bodyPr rtlCol="0" anchor="ctr">
                <a:normAutofit fontScale="25000" lnSpcReduction="20000"/>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latin typeface="CiscoSansTT ExtraLight"/>
                  <a:ea typeface="+mn-ea"/>
                  <a:cs typeface="+mn-cs"/>
                </a:endParaRPr>
              </a:p>
            </p:txBody>
          </p:sp>
          <p:cxnSp>
            <p:nvCxnSpPr>
              <p:cNvPr id="91" name="Straight Connector 90">
                <a:extLst>
                  <a:ext uri="{FF2B5EF4-FFF2-40B4-BE49-F238E27FC236}">
                    <a16:creationId xmlns:a16="http://schemas.microsoft.com/office/drawing/2014/main" id="{84FF9F11-4804-5345-B7A8-53D0D3FE2573}"/>
                  </a:ext>
                </a:extLst>
              </p:cNvPr>
              <p:cNvCxnSpPr>
                <a:cxnSpLocks/>
              </p:cNvCxnSpPr>
              <p:nvPr/>
            </p:nvCxnSpPr>
            <p:spPr>
              <a:xfrm rot="5400000" flipH="1" flipV="1">
                <a:off x="5948282" y="1713150"/>
                <a:ext cx="1745664" cy="11094"/>
              </a:xfrm>
              <a:prstGeom prst="line">
                <a:avLst/>
              </a:prstGeom>
              <a:noFill/>
              <a:ln w="38100" cap="flat" cmpd="sng" algn="ctr">
                <a:solidFill>
                  <a:srgbClr val="9E9EA2"/>
                </a:solidFill>
                <a:prstDash val="solid"/>
              </a:ln>
              <a:effectLst/>
            </p:spPr>
          </p:cxnSp>
        </p:grpSp>
        <p:sp>
          <p:nvSpPr>
            <p:cNvPr id="76" name="Rectangle: Rounded Corners 157">
              <a:extLst>
                <a:ext uri="{FF2B5EF4-FFF2-40B4-BE49-F238E27FC236}">
                  <a16:creationId xmlns:a16="http://schemas.microsoft.com/office/drawing/2014/main" id="{901E27B9-BBF5-3E4D-9B03-29F133991BC8}"/>
                </a:ext>
              </a:extLst>
            </p:cNvPr>
            <p:cNvSpPr/>
            <p:nvPr/>
          </p:nvSpPr>
          <p:spPr>
            <a:xfrm rot="5400000">
              <a:off x="6967304" y="1588748"/>
              <a:ext cx="1957226" cy="569674"/>
            </a:xfrm>
            <a:prstGeom prst="roundRect">
              <a:avLst>
                <a:gd name="adj" fmla="val 19167"/>
              </a:avLst>
            </a:prstGeom>
            <a:noFill/>
            <a:ln w="34925" cap="flat" cmpd="sng" algn="ctr">
              <a:solidFill>
                <a:srgbClr val="9E9EA2"/>
              </a:solidFill>
              <a:prstDash val="solid"/>
            </a:ln>
            <a:effectLst/>
          </p:spPr>
          <p:txBody>
            <a:bodyPr rtlCol="0" anchor="ctr">
              <a:norm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D274D"/>
                </a:solidFill>
                <a:effectLst/>
                <a:uLnTx/>
                <a:uFillTx/>
                <a:ea typeface="+mn-ea"/>
              </a:endParaRPr>
            </a:p>
          </p:txBody>
        </p:sp>
        <p:sp>
          <p:nvSpPr>
            <p:cNvPr id="80" name="TextBox 79">
              <a:extLst>
                <a:ext uri="{FF2B5EF4-FFF2-40B4-BE49-F238E27FC236}">
                  <a16:creationId xmlns:a16="http://schemas.microsoft.com/office/drawing/2014/main" id="{29D5F17B-FCB7-6042-9C0C-9300BB27501A}"/>
                </a:ext>
              </a:extLst>
            </p:cNvPr>
            <p:cNvSpPr txBox="1">
              <a:spLocks/>
            </p:cNvSpPr>
            <p:nvPr/>
          </p:nvSpPr>
          <p:spPr>
            <a:xfrm>
              <a:off x="7793344" y="2898189"/>
              <a:ext cx="349226" cy="339831"/>
            </a:xfrm>
            <a:prstGeom prst="rect">
              <a:avLst/>
            </a:prstGeom>
            <a:noFill/>
          </p:spPr>
          <p:txBody>
            <a:bodyPr wrap="none" lIns="0" tIns="0" rIns="0" bIns="0" rtlCol="0" anchor="ctr">
              <a:normAutofit/>
            </a:bodyPr>
            <a:lstStyle/>
            <a:p>
              <a:pPr marL="0" marR="0" lvl="0" indent="0" algn="ctr" defTabSz="456974" eaLnBrk="1" fontAlgn="base" latinLnBrk="0" hangingPunct="1">
                <a:lnSpc>
                  <a:spcPct val="90000"/>
                </a:lnSpc>
                <a:spcBef>
                  <a:spcPts val="100"/>
                </a:spcBef>
                <a:spcAft>
                  <a:spcPct val="0"/>
                </a:spcAft>
                <a:buClrTx/>
                <a:buSzTx/>
                <a:buFontTx/>
                <a:buNone/>
                <a:tabLst/>
                <a:defRPr/>
              </a:pPr>
              <a:r>
                <a:rPr kumimoji="0" lang="en-US" sz="1100" b="0" i="0" u="none" strike="noStrike" kern="0" cap="none" spc="0" normalizeH="0" baseline="0" noProof="0" dirty="0">
                  <a:ln>
                    <a:noFill/>
                  </a:ln>
                  <a:solidFill>
                    <a:srgbClr val="9E9EA2"/>
                  </a:solidFill>
                  <a:effectLst/>
                  <a:uLnTx/>
                  <a:uFillTx/>
                  <a:latin typeface="CiscoSansTT" panose="020B0503020201020303" pitchFamily="34" charset="0"/>
                  <a:ea typeface="ＭＳ Ｐゴシック" charset="0"/>
                  <a:cs typeface="CiscoSansTT" panose="020B0503020201020303" pitchFamily="34" charset="0"/>
                </a:rPr>
                <a:t>Your</a:t>
              </a:r>
              <a:br>
                <a:rPr kumimoji="0" lang="en-US" sz="1100" b="0" i="0" u="none" strike="noStrike" kern="0" cap="none" spc="0" normalizeH="0" baseline="0" noProof="0" dirty="0">
                  <a:ln>
                    <a:noFill/>
                  </a:ln>
                  <a:solidFill>
                    <a:srgbClr val="9E9EA2"/>
                  </a:solidFill>
                  <a:effectLst/>
                  <a:uLnTx/>
                  <a:uFillTx/>
                  <a:latin typeface="CiscoSansTT" panose="020B0503020201020303" pitchFamily="34" charset="0"/>
                  <a:ea typeface="ＭＳ Ｐゴシック" charset="0"/>
                  <a:cs typeface="CiscoSansTT" panose="020B0503020201020303" pitchFamily="34" charset="0"/>
                </a:rPr>
              </a:br>
              <a:r>
                <a:rPr kumimoji="0" lang="en-US" sz="1100" b="0" i="0" u="none" strike="noStrike" kern="0" cap="none" spc="0" normalizeH="0" baseline="0" noProof="0" dirty="0">
                  <a:ln>
                    <a:noFill/>
                  </a:ln>
                  <a:solidFill>
                    <a:srgbClr val="9E9EA2"/>
                  </a:solidFill>
                  <a:effectLst/>
                  <a:uLnTx/>
                  <a:uFillTx/>
                  <a:latin typeface="CiscoSansTT" panose="020B0503020201020303" pitchFamily="34" charset="0"/>
                  <a:ea typeface="ＭＳ Ｐゴシック" charset="0"/>
                  <a:cs typeface="CiscoSansTT" panose="020B0503020201020303" pitchFamily="34" charset="0"/>
                </a:rPr>
                <a:t>teams</a:t>
              </a:r>
            </a:p>
          </p:txBody>
        </p:sp>
        <p:grpSp>
          <p:nvGrpSpPr>
            <p:cNvPr id="4" name="Group 3">
              <a:extLst>
                <a:ext uri="{FF2B5EF4-FFF2-40B4-BE49-F238E27FC236}">
                  <a16:creationId xmlns:a16="http://schemas.microsoft.com/office/drawing/2014/main" id="{E3EB40C8-D05B-5847-AADF-FF98E07FA494}"/>
                </a:ext>
              </a:extLst>
            </p:cNvPr>
            <p:cNvGrpSpPr/>
            <p:nvPr/>
          </p:nvGrpSpPr>
          <p:grpSpPr>
            <a:xfrm>
              <a:off x="7736623" y="1081033"/>
              <a:ext cx="456651" cy="1637215"/>
              <a:chOff x="7721755" y="1177675"/>
              <a:chExt cx="456651" cy="1637215"/>
            </a:xfrm>
          </p:grpSpPr>
          <p:sp>
            <p:nvSpPr>
              <p:cNvPr id="77" name="TextBox 76">
                <a:extLst>
                  <a:ext uri="{FF2B5EF4-FFF2-40B4-BE49-F238E27FC236}">
                    <a16:creationId xmlns:a16="http://schemas.microsoft.com/office/drawing/2014/main" id="{681123D3-3E00-AB4C-9E53-BBA2768543F5}"/>
                  </a:ext>
                </a:extLst>
              </p:cNvPr>
              <p:cNvSpPr txBox="1">
                <a:spLocks/>
              </p:cNvSpPr>
              <p:nvPr/>
            </p:nvSpPr>
            <p:spPr>
              <a:xfrm>
                <a:off x="7743363" y="2652680"/>
                <a:ext cx="435043" cy="162210"/>
              </a:xfrm>
              <a:prstGeom prst="roundRect">
                <a:avLst/>
              </a:prstGeom>
              <a:noFill/>
            </p:spPr>
            <p:txBody>
              <a:bodyPr wrap="square" lIns="0" tIns="0" rIns="0" bIns="0" rtlCol="0" anchor="ctr">
                <a:normAutofit fontScale="92500"/>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ＭＳ Ｐゴシック" charset="0"/>
                  </a:rPr>
                  <a:t>NetOps</a:t>
                </a:r>
              </a:p>
            </p:txBody>
          </p:sp>
          <p:sp>
            <p:nvSpPr>
              <p:cNvPr id="78" name="TextBox 77">
                <a:extLst>
                  <a:ext uri="{FF2B5EF4-FFF2-40B4-BE49-F238E27FC236}">
                    <a16:creationId xmlns:a16="http://schemas.microsoft.com/office/drawing/2014/main" id="{D1AAE28E-75FC-A346-8EA2-AD89A0C6E574}"/>
                  </a:ext>
                </a:extLst>
              </p:cNvPr>
              <p:cNvSpPr txBox="1">
                <a:spLocks/>
              </p:cNvSpPr>
              <p:nvPr/>
            </p:nvSpPr>
            <p:spPr>
              <a:xfrm>
                <a:off x="7726740" y="2097519"/>
                <a:ext cx="435043" cy="162210"/>
              </a:xfrm>
              <a:prstGeom prst="roundRect">
                <a:avLst/>
              </a:prstGeom>
              <a:noFill/>
            </p:spPr>
            <p:txBody>
              <a:bodyPr wrap="square" lIns="0" tIns="0" rIns="0" bIns="0" rtlCol="0" anchor="ctr">
                <a:normAutofit lnSpcReduction="10000"/>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ＭＳ Ｐゴシック" charset="0"/>
                  </a:rPr>
                  <a:t>ITOps</a:t>
                </a:r>
              </a:p>
            </p:txBody>
          </p:sp>
          <p:sp>
            <p:nvSpPr>
              <p:cNvPr id="79" name="TextBox 78">
                <a:extLst>
                  <a:ext uri="{FF2B5EF4-FFF2-40B4-BE49-F238E27FC236}">
                    <a16:creationId xmlns:a16="http://schemas.microsoft.com/office/drawing/2014/main" id="{BAB4997B-9A86-C540-B660-FBF928857B1C}"/>
                  </a:ext>
                </a:extLst>
              </p:cNvPr>
              <p:cNvSpPr txBox="1">
                <a:spLocks/>
              </p:cNvSpPr>
              <p:nvPr/>
            </p:nvSpPr>
            <p:spPr>
              <a:xfrm>
                <a:off x="7721755" y="1515887"/>
                <a:ext cx="435043" cy="162210"/>
              </a:xfrm>
              <a:prstGeom prst="roundRect">
                <a:avLst/>
              </a:prstGeom>
              <a:noFill/>
            </p:spPr>
            <p:txBody>
              <a:bodyPr wrap="square" lIns="0" tIns="0" rIns="0" bIns="0" rtlCol="0" anchor="ctr">
                <a:normAutofit fontScale="92500"/>
              </a:bodyPr>
              <a:lstStyle/>
              <a:p>
                <a:pPr marL="0" marR="0" lvl="0" indent="0" algn="ctr" defTabSz="457189"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a:ln>
                      <a:noFill/>
                    </a:ln>
                    <a:solidFill>
                      <a:schemeClr val="bg1"/>
                    </a:solidFill>
                    <a:effectLst/>
                    <a:uLnTx/>
                    <a:uFillTx/>
                    <a:ea typeface="ＭＳ Ｐゴシック" charset="0"/>
                  </a:rPr>
                  <a:t>SecOps</a:t>
                </a:r>
              </a:p>
            </p:txBody>
          </p:sp>
          <p:sp>
            <p:nvSpPr>
              <p:cNvPr id="81" name="Oval 80">
                <a:extLst>
                  <a:ext uri="{FF2B5EF4-FFF2-40B4-BE49-F238E27FC236}">
                    <a16:creationId xmlns:a16="http://schemas.microsoft.com/office/drawing/2014/main" id="{269F71A6-4418-0C42-8A7A-DD49D30C5EF9}"/>
                  </a:ext>
                </a:extLst>
              </p:cNvPr>
              <p:cNvSpPr/>
              <p:nvPr/>
            </p:nvSpPr>
            <p:spPr>
              <a:xfrm>
                <a:off x="7797197" y="2335432"/>
                <a:ext cx="305427" cy="313507"/>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82" name="Oval 81">
                <a:extLst>
                  <a:ext uri="{FF2B5EF4-FFF2-40B4-BE49-F238E27FC236}">
                    <a16:creationId xmlns:a16="http://schemas.microsoft.com/office/drawing/2014/main" id="{E656C0EC-B52D-B54B-83DD-22771C4EEE93}"/>
                  </a:ext>
                </a:extLst>
              </p:cNvPr>
              <p:cNvSpPr/>
              <p:nvPr/>
            </p:nvSpPr>
            <p:spPr>
              <a:xfrm>
                <a:off x="7784790" y="1757542"/>
                <a:ext cx="305427" cy="313507"/>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83" name="Oval 82">
                <a:extLst>
                  <a:ext uri="{FF2B5EF4-FFF2-40B4-BE49-F238E27FC236}">
                    <a16:creationId xmlns:a16="http://schemas.microsoft.com/office/drawing/2014/main" id="{AC7B5116-F110-DA45-AAEA-D290A6200600}"/>
                  </a:ext>
                </a:extLst>
              </p:cNvPr>
              <p:cNvSpPr/>
              <p:nvPr/>
            </p:nvSpPr>
            <p:spPr>
              <a:xfrm>
                <a:off x="7784577" y="1177675"/>
                <a:ext cx="305427" cy="313507"/>
              </a:xfrm>
              <a:prstGeom prst="ellipse">
                <a:avLst/>
              </a:prstGeom>
              <a:solidFill>
                <a:srgbClr val="FFFFFF">
                  <a:lumMod val="95000"/>
                </a:srgbClr>
              </a:solidFill>
              <a:ln w="0" cap="flat" cmpd="sng" algn="ctr">
                <a:solidFill>
                  <a:srgbClr val="FFFFFF">
                    <a:lumMod val="85000"/>
                  </a:srgbClr>
                </a:solidFill>
                <a:prstDash val="solid"/>
              </a:ln>
              <a:effectLst/>
            </p:spPr>
            <p:txBody>
              <a:bodyPr rtlCol="0" anchor="t">
                <a:normAutofit fontScale="77500" lnSpcReduction="20000"/>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84" name="Picture 83" descr="A close up of a logo&#10;&#10;Description automatically generated">
                <a:extLst>
                  <a:ext uri="{FF2B5EF4-FFF2-40B4-BE49-F238E27FC236}">
                    <a16:creationId xmlns:a16="http://schemas.microsoft.com/office/drawing/2014/main" id="{A5B32158-9009-494D-A2B7-36AD8077095F}"/>
                  </a:ext>
                </a:extLst>
              </p:cNvPr>
              <p:cNvPicPr>
                <a:picLocks noChangeAspect="1"/>
              </p:cNvPicPr>
              <p:nvPr/>
            </p:nvPicPr>
            <p:blipFill>
              <a:blip r:embed="rId22"/>
              <a:stretch>
                <a:fillRect/>
              </a:stretch>
            </p:blipFill>
            <p:spPr>
              <a:xfrm>
                <a:off x="7842516" y="1810222"/>
                <a:ext cx="205680" cy="211120"/>
              </a:xfrm>
              <a:prstGeom prst="rect">
                <a:avLst/>
              </a:prstGeom>
            </p:spPr>
          </p:pic>
          <p:pic>
            <p:nvPicPr>
              <p:cNvPr id="85" name="Picture 84" descr="A close up of a logo&#10;&#10;Description automatically generated">
                <a:extLst>
                  <a:ext uri="{FF2B5EF4-FFF2-40B4-BE49-F238E27FC236}">
                    <a16:creationId xmlns:a16="http://schemas.microsoft.com/office/drawing/2014/main" id="{D7B184A4-8070-BC4D-9F7F-ACCDB11EFA7F}"/>
                  </a:ext>
                </a:extLst>
              </p:cNvPr>
              <p:cNvPicPr>
                <a:picLocks noChangeAspect="1"/>
              </p:cNvPicPr>
              <p:nvPr/>
            </p:nvPicPr>
            <p:blipFill>
              <a:blip r:embed="rId23"/>
              <a:stretch>
                <a:fillRect/>
              </a:stretch>
            </p:blipFill>
            <p:spPr>
              <a:xfrm>
                <a:off x="7836181" y="1233479"/>
                <a:ext cx="205680" cy="211120"/>
              </a:xfrm>
              <a:prstGeom prst="rect">
                <a:avLst/>
              </a:prstGeom>
            </p:spPr>
          </p:pic>
          <p:pic>
            <p:nvPicPr>
              <p:cNvPr id="86" name="Picture 85" descr="A close up of a logo&#10;&#10;Description automatically generated">
                <a:extLst>
                  <a:ext uri="{FF2B5EF4-FFF2-40B4-BE49-F238E27FC236}">
                    <a16:creationId xmlns:a16="http://schemas.microsoft.com/office/drawing/2014/main" id="{04579F6D-C1B0-4742-8BA7-F52A18871043}"/>
                  </a:ext>
                </a:extLst>
              </p:cNvPr>
              <p:cNvPicPr>
                <a:picLocks noChangeAspect="1"/>
              </p:cNvPicPr>
              <p:nvPr/>
            </p:nvPicPr>
            <p:blipFill>
              <a:blip r:embed="rId24"/>
              <a:stretch>
                <a:fillRect/>
              </a:stretch>
            </p:blipFill>
            <p:spPr>
              <a:xfrm>
                <a:off x="7848279" y="2377177"/>
                <a:ext cx="205680" cy="211120"/>
              </a:xfrm>
              <a:prstGeom prst="rect">
                <a:avLst/>
              </a:prstGeom>
            </p:spPr>
          </p:pic>
        </p:grpSp>
      </p:grpSp>
      <p:sp>
        <p:nvSpPr>
          <p:cNvPr id="182" name="Text Placeholder 4">
            <a:extLst>
              <a:ext uri="{FF2B5EF4-FFF2-40B4-BE49-F238E27FC236}">
                <a16:creationId xmlns:a16="http://schemas.microsoft.com/office/drawing/2014/main" id="{2BBB393B-9507-A74E-B35F-EE911F9BB781}"/>
              </a:ext>
            </a:extLst>
          </p:cNvPr>
          <p:cNvSpPr txBox="1">
            <a:spLocks/>
          </p:cNvSpPr>
          <p:nvPr/>
        </p:nvSpPr>
        <p:spPr>
          <a:xfrm flipH="1">
            <a:off x="534142" y="3279689"/>
            <a:ext cx="3964565" cy="1533568"/>
          </a:xfrm>
          <a:prstGeom prst="rect">
            <a:avLst/>
          </a:prstGeom>
        </p:spPr>
        <p:txBody>
          <a:bodyPr lIns="0" rIns="0" anchor="ctr"/>
          <a:lstStyle>
            <a:lvl1pPr marL="0" indent="0" algn="l" defTabSz="684196" rtl="0" eaLnBrk="1" fontAlgn="base" hangingPunct="1">
              <a:lnSpc>
                <a:spcPct val="95000"/>
              </a:lnSpc>
              <a:spcBef>
                <a:spcPts val="1075"/>
              </a:spcBef>
              <a:spcAft>
                <a:spcPct val="0"/>
              </a:spcAft>
              <a:buClr>
                <a:schemeClr val="tx2"/>
              </a:buClr>
              <a:buSzPct val="90000"/>
              <a:buFont typeface="Arial" charset="0"/>
              <a:buNone/>
              <a:defRPr lang="en-US" sz="2800" kern="1200">
                <a:solidFill>
                  <a:schemeClr val="bg1"/>
                </a:solidFill>
                <a:latin typeface="+mn-lt"/>
                <a:ea typeface="ＭＳ Ｐゴシック" charset="0"/>
                <a:cs typeface="CiscoSans"/>
              </a:defRPr>
            </a:lvl1pPr>
            <a:lvl2pPr marL="142872" indent="0" algn="l" defTabSz="684196" rtl="0" eaLnBrk="1" fontAlgn="base" hangingPunct="1">
              <a:lnSpc>
                <a:spcPct val="95000"/>
              </a:lnSpc>
              <a:spcBef>
                <a:spcPts val="600"/>
              </a:spcBef>
              <a:spcAft>
                <a:spcPct val="0"/>
              </a:spcAft>
              <a:buClr>
                <a:schemeClr val="tx2"/>
              </a:buClr>
              <a:buFont typeface="Arial" charset="0"/>
              <a:buNone/>
              <a:defRPr lang="en-US" sz="1400" kern="1200">
                <a:solidFill>
                  <a:schemeClr val="tx1"/>
                </a:solidFill>
                <a:latin typeface="+mn-lt"/>
                <a:ea typeface="ＭＳ Ｐゴシック" charset="0"/>
                <a:cs typeface="CiscoSans"/>
              </a:defRPr>
            </a:lvl2pPr>
            <a:lvl3pPr marL="261930" indent="0" algn="l" defTabSz="684196"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3pPr>
            <a:lvl4pPr marL="333366" indent="0" algn="l" defTabSz="684196" rtl="0" eaLnBrk="1" fontAlgn="base" hangingPunct="1">
              <a:lnSpc>
                <a:spcPct val="95000"/>
              </a:lnSpc>
              <a:spcBef>
                <a:spcPts val="625"/>
              </a:spcBef>
              <a:spcAft>
                <a:spcPct val="0"/>
              </a:spcAft>
              <a:buFont typeface="Arial" charset="0"/>
              <a:buNone/>
              <a:defRPr lang="en-US" sz="1100" kern="1200">
                <a:solidFill>
                  <a:schemeClr val="tx1"/>
                </a:solidFill>
                <a:latin typeface="+mn-lt"/>
                <a:ea typeface="ＭＳ Ｐゴシック" charset="0"/>
                <a:cs typeface="CiscoSans"/>
              </a:defRPr>
            </a:lvl4pPr>
            <a:lvl5pPr marL="404802" indent="0" algn="l" defTabSz="684196" rtl="0" eaLnBrk="1" fontAlgn="base" hangingPunct="1">
              <a:lnSpc>
                <a:spcPct val="95000"/>
              </a:lnSpc>
              <a:spcBef>
                <a:spcPts val="625"/>
              </a:spcBef>
              <a:spcAft>
                <a:spcPct val="0"/>
              </a:spcAft>
              <a:buFont typeface="Arial" charset="0"/>
              <a:buNone/>
              <a:defRPr lang="en-US" sz="1100" kern="120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marR="0" lvl="0" indent="0" algn="l" defTabSz="684196" rtl="0" eaLnBrk="1" fontAlgn="base" latinLnBrk="0" hangingPunct="1">
              <a:lnSpc>
                <a:spcPct val="95000"/>
              </a:lnSpc>
              <a:spcBef>
                <a:spcPts val="1075"/>
              </a:spcBef>
              <a:spcAft>
                <a:spcPct val="0"/>
              </a:spcAft>
              <a:buClr>
                <a:srgbClr val="1E4471"/>
              </a:buClr>
              <a:buSzPct val="90000"/>
              <a:buFont typeface="Arial" charset="0"/>
              <a:buNone/>
              <a:tabLst/>
              <a:defRPr/>
            </a:pPr>
            <a:r>
              <a:rPr kumimoji="0" lang="en-US" sz="1800" b="0" i="0" u="none" strike="noStrike" kern="1200" cap="none" spc="0" normalizeH="0" baseline="0" noProof="0" dirty="0">
                <a:ln>
                  <a:noFill/>
                </a:ln>
                <a:effectLst/>
                <a:uLnTx/>
                <a:uFillTx/>
                <a:latin typeface="CiscoSansTT ExtraLight"/>
                <a:ea typeface="ＭＳ Ｐゴシック" charset="0"/>
              </a:rPr>
              <a:t>Integrate everything in your environment to unify visibility, enable automation, and strengthen security</a:t>
            </a:r>
          </a:p>
        </p:txBody>
      </p:sp>
      <p:sp>
        <p:nvSpPr>
          <p:cNvPr id="183" name="Title 1">
            <a:extLst>
              <a:ext uri="{FF2B5EF4-FFF2-40B4-BE49-F238E27FC236}">
                <a16:creationId xmlns:a16="http://schemas.microsoft.com/office/drawing/2014/main" id="{C47577D5-E023-1D45-9B2B-B3F890B903F2}"/>
              </a:ext>
            </a:extLst>
          </p:cNvPr>
          <p:cNvSpPr txBox="1">
            <a:spLocks/>
          </p:cNvSpPr>
          <p:nvPr/>
        </p:nvSpPr>
        <p:spPr bwMode="auto">
          <a:xfrm>
            <a:off x="185555" y="-875080"/>
            <a:ext cx="8760189" cy="925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196"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1E4471"/>
                </a:solidFill>
                <a:effectLst/>
                <a:uLnTx/>
                <a:uFillTx/>
                <a:latin typeface="CiscoSansTT ExtraLight"/>
                <a:cs typeface="CiscoSansTT Thin" charset="0"/>
              </a:rPr>
              <a:t>Cisco SecureX connects with your </a:t>
            </a:r>
            <a:r>
              <a:rPr kumimoji="0" lang="en-US" sz="2400" b="0" i="0" u="none" strike="noStrike" kern="1200" cap="none" spc="0" normalizeH="0" baseline="0" noProof="0" dirty="0">
                <a:ln>
                  <a:noFill/>
                </a:ln>
                <a:solidFill>
                  <a:srgbClr val="6EBE4A"/>
                </a:solidFill>
                <a:effectLst/>
                <a:uLnTx/>
                <a:uFillTx/>
                <a:latin typeface="CiscoSansTT" panose="020B0503020201020303" pitchFamily="34" charset="0"/>
                <a:cs typeface="CiscoSansTT" panose="020B0503020201020303" pitchFamily="34" charset="0"/>
              </a:rPr>
              <a:t>entire</a:t>
            </a:r>
            <a:r>
              <a:rPr kumimoji="0" lang="en-US" sz="2400" b="0" i="0" u="none" strike="noStrike" kern="1200" cap="none" spc="0" normalizeH="0" baseline="0" noProof="0" dirty="0">
                <a:ln>
                  <a:noFill/>
                </a:ln>
                <a:solidFill>
                  <a:srgbClr val="1E4471"/>
                </a:solidFill>
                <a:effectLst/>
                <a:uLnTx/>
                <a:uFillTx/>
                <a:latin typeface="CiscoSansTT ExtraLight"/>
                <a:cs typeface="CiscoSansTT Thin" charset="0"/>
              </a:rPr>
              <a:t> security ecosystem</a:t>
            </a:r>
          </a:p>
        </p:txBody>
      </p:sp>
      <p:sp>
        <p:nvSpPr>
          <p:cNvPr id="2" name="Title 1">
            <a:extLst>
              <a:ext uri="{FF2B5EF4-FFF2-40B4-BE49-F238E27FC236}">
                <a16:creationId xmlns:a16="http://schemas.microsoft.com/office/drawing/2014/main" id="{7E035882-843F-534D-A065-184FD2262ED6}"/>
              </a:ext>
            </a:extLst>
          </p:cNvPr>
          <p:cNvSpPr>
            <a:spLocks noGrp="1"/>
          </p:cNvSpPr>
          <p:nvPr>
            <p:ph type="title"/>
          </p:nvPr>
        </p:nvSpPr>
        <p:spPr/>
        <p:txBody>
          <a:bodyPr/>
          <a:lstStyle/>
          <a:p>
            <a:r>
              <a:rPr lang="en-US" sz="3200" dirty="0"/>
              <a:t>Cisco </a:t>
            </a:r>
            <a:r>
              <a:rPr lang="en-US" sz="3200" dirty="0" err="1"/>
              <a:t>SecureX</a:t>
            </a:r>
            <a:r>
              <a:rPr lang="en-US" sz="3200" dirty="0"/>
              <a:t> connects with your </a:t>
            </a:r>
            <a:r>
              <a:rPr lang="en-US" sz="3200" dirty="0">
                <a:solidFill>
                  <a:schemeClr val="accent2"/>
                </a:solidFill>
              </a:rPr>
              <a:t>entire</a:t>
            </a:r>
            <a:r>
              <a:rPr lang="en-US" sz="3200" dirty="0"/>
              <a:t> security ecosystem</a:t>
            </a:r>
          </a:p>
        </p:txBody>
      </p:sp>
    </p:spTree>
    <p:extLst>
      <p:ext uri="{BB962C8B-B14F-4D97-AF65-F5344CB8AC3E}">
        <p14:creationId xmlns:p14="http://schemas.microsoft.com/office/powerpoint/2010/main" val="318968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887CD10-EFCF-7D4F-A4DB-578886C0BC8A}"/>
              </a:ext>
            </a:extLst>
          </p:cNvPr>
          <p:cNvGrpSpPr/>
          <p:nvPr/>
        </p:nvGrpSpPr>
        <p:grpSpPr>
          <a:xfrm>
            <a:off x="924022" y="2313524"/>
            <a:ext cx="3200400" cy="506196"/>
            <a:chOff x="547687" y="3468089"/>
            <a:chExt cx="1989950" cy="397577"/>
          </a:xfrm>
        </p:grpSpPr>
        <p:sp>
          <p:nvSpPr>
            <p:cNvPr id="5" name="TextBox 4">
              <a:extLst>
                <a:ext uri="{FF2B5EF4-FFF2-40B4-BE49-F238E27FC236}">
                  <a16:creationId xmlns:a16="http://schemas.microsoft.com/office/drawing/2014/main" id="{4E51DD08-042F-6747-B2C0-EE9E82726976}"/>
                </a:ext>
              </a:extLst>
            </p:cNvPr>
            <p:cNvSpPr txBox="1"/>
            <p:nvPr/>
          </p:nvSpPr>
          <p:spPr>
            <a:xfrm>
              <a:off x="547688" y="3468089"/>
              <a:ext cx="1989949" cy="397577"/>
            </a:xfrm>
            <a:prstGeom prst="roundRect">
              <a:avLst>
                <a:gd name="adj" fmla="val 50000"/>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algn="ctr"/>
              <a:r>
                <a:rPr lang="en-US" sz="2000" dirty="0">
                  <a:solidFill>
                    <a:schemeClr val="bg1"/>
                  </a:solidFill>
                  <a:latin typeface="+mn-lt"/>
                </a:rPr>
                <a:t>Download the report</a:t>
              </a:r>
            </a:p>
          </p:txBody>
        </p:sp>
        <p:sp>
          <p:nvSpPr>
            <p:cNvPr id="6" name="Rectangle 5">
              <a:hlinkClick r:id="rId2"/>
              <a:extLst>
                <a:ext uri="{FF2B5EF4-FFF2-40B4-BE49-F238E27FC236}">
                  <a16:creationId xmlns:a16="http://schemas.microsoft.com/office/drawing/2014/main" id="{45EC3921-97EA-3145-BF06-CCEB27DA0E53}"/>
                </a:ext>
              </a:extLst>
            </p:cNvPr>
            <p:cNvSpPr/>
            <p:nvPr/>
          </p:nvSpPr>
          <p:spPr>
            <a:xfrm>
              <a:off x="547687" y="3468089"/>
              <a:ext cx="1989950" cy="397576"/>
            </a:xfrm>
            <a:prstGeom prst="rect">
              <a:avLst/>
            </a:prstGeom>
            <a:no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2000" b="0" i="0" u="none" strike="noStrike" cap="none" spc="0" normalizeH="0" baseline="0" dirty="0">
                <a:ln>
                  <a:noFill/>
                </a:ln>
                <a:solidFill>
                  <a:srgbClr val="FFFFFF"/>
                </a:solidFill>
                <a:effectLst/>
                <a:uFillTx/>
                <a:latin typeface="+mn-lt"/>
                <a:ea typeface="CiscoSansTT ExtraLight"/>
                <a:cs typeface="CiscoSansTT ExtraLight"/>
                <a:sym typeface="CiscoSansTT ExtraLight"/>
              </a:endParaRPr>
            </a:p>
          </p:txBody>
        </p:sp>
      </p:grpSp>
      <p:pic>
        <p:nvPicPr>
          <p:cNvPr id="11" name="Picture 10" descr="A picture containing text, holding, standing, man&#10;&#10;Description automatically generated">
            <a:extLst>
              <a:ext uri="{FF2B5EF4-FFF2-40B4-BE49-F238E27FC236}">
                <a16:creationId xmlns:a16="http://schemas.microsoft.com/office/drawing/2014/main" id="{2939FD56-92B1-9A4A-863F-88E8C33AE43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00390" y="407940"/>
            <a:ext cx="3337444" cy="4319044"/>
          </a:xfrm>
          <a:prstGeom prst="rect">
            <a:avLst/>
          </a:prstGeom>
          <a:effectLst>
            <a:outerShdw blurRad="254000" sx="106000" sy="106000" algn="ctr" rotWithShape="0">
              <a:prstClr val="black">
                <a:alpha val="15000"/>
              </a:prstClr>
            </a:outerShdw>
          </a:effectLst>
        </p:spPr>
      </p:pic>
      <p:sp>
        <p:nvSpPr>
          <p:cNvPr id="7" name="Rectangle 6">
            <a:hlinkClick r:id="rId4"/>
            <a:extLst>
              <a:ext uri="{FF2B5EF4-FFF2-40B4-BE49-F238E27FC236}">
                <a16:creationId xmlns:a16="http://schemas.microsoft.com/office/drawing/2014/main" id="{DA571461-EFFD-4545-8DA7-20B917DDC84E}"/>
              </a:ext>
            </a:extLst>
          </p:cNvPr>
          <p:cNvSpPr/>
          <p:nvPr/>
        </p:nvSpPr>
        <p:spPr>
          <a:xfrm>
            <a:off x="1196775" y="3136111"/>
            <a:ext cx="2654894" cy="307777"/>
          </a:xfrm>
          <a:prstGeom prst="rect">
            <a:avLst/>
          </a:prstGeom>
        </p:spPr>
        <p:txBody>
          <a:bodyPr wrap="none">
            <a:spAutoFit/>
          </a:bodyPr>
          <a:lstStyle/>
          <a:p>
            <a:r>
              <a:rPr lang="en-US" sz="1400" dirty="0">
                <a:solidFill>
                  <a:schemeClr val="accent2"/>
                </a:solidFill>
                <a:latin typeface="+mj-lt"/>
                <a:hlinkClick r:id="rId2"/>
              </a:rPr>
              <a:t>cisco.com/go/</a:t>
            </a:r>
            <a:r>
              <a:rPr lang="en-US" sz="1400" dirty="0" err="1">
                <a:solidFill>
                  <a:schemeClr val="accent2"/>
                </a:solidFill>
                <a:latin typeface="+mj-lt"/>
                <a:hlinkClick r:id="rId2"/>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319763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AA37D85-FAFD-DF4F-9AA6-A00E5A748095}"/>
              </a:ext>
            </a:extLst>
          </p:cNvPr>
          <p:cNvSpPr>
            <a:spLocks noGrp="1"/>
          </p:cNvSpPr>
          <p:nvPr>
            <p:ph type="title"/>
          </p:nvPr>
        </p:nvSpPr>
        <p:spPr/>
        <p:txBody>
          <a:bodyPr/>
          <a:lstStyle/>
          <a:p>
            <a:r>
              <a:rPr lang="en-US"/>
              <a:t>Cybersecurity Report Series</a:t>
            </a:r>
            <a:endParaRPr lang="en-US" dirty="0"/>
          </a:p>
        </p:txBody>
      </p:sp>
      <p:sp>
        <p:nvSpPr>
          <p:cNvPr id="17" name="Title 2">
            <a:extLst>
              <a:ext uri="{FF2B5EF4-FFF2-40B4-BE49-F238E27FC236}">
                <a16:creationId xmlns:a16="http://schemas.microsoft.com/office/drawing/2014/main" id="{65F21291-0DBD-AA4D-98E9-139B18885D07}"/>
              </a:ext>
            </a:extLst>
          </p:cNvPr>
          <p:cNvSpPr txBox="1">
            <a:spLocks/>
          </p:cNvSpPr>
          <p:nvPr/>
        </p:nvSpPr>
        <p:spPr bwMode="auto">
          <a:xfrm>
            <a:off x="1634424" y="4348399"/>
            <a:ext cx="5271247" cy="323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noAutofit/>
          </a:bodyPr>
          <a:lst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100000"/>
              </a:lnSpc>
            </a:pPr>
            <a:r>
              <a:rPr lang="en-US" sz="1400" dirty="0">
                <a:solidFill>
                  <a:schemeClr val="tx2"/>
                </a:solidFill>
                <a:latin typeface="+mn-lt"/>
                <a:cs typeface="CiscoSansTT ExtraLight" panose="020B0303020201020303" pitchFamily="34" charset="0"/>
              </a:rPr>
              <a:t>More reports available at </a:t>
            </a:r>
            <a:r>
              <a:rPr lang="en-US" sz="1400" dirty="0">
                <a:solidFill>
                  <a:schemeClr val="accent1"/>
                </a:solidFill>
                <a:latin typeface="+mn-lt"/>
                <a:cs typeface="CiscoSansTT ExtraLight" panose="020B0303020201020303" pitchFamily="34" charset="0"/>
                <a:hlinkClick r:id="rId2"/>
              </a:rPr>
              <a:t>cisco.com/go/securityreports</a:t>
            </a:r>
            <a:endParaRPr lang="en-US" sz="2400" dirty="0">
              <a:solidFill>
                <a:schemeClr val="accent1"/>
              </a:solidFill>
              <a:latin typeface="+mn-lt"/>
              <a:cs typeface="CiscoSansTT ExtraLight" panose="020B0303020201020303" pitchFamily="34" charset="0"/>
            </a:endParaRPr>
          </a:p>
        </p:txBody>
      </p:sp>
      <p:pic>
        <p:nvPicPr>
          <p:cNvPr id="5" name="Picture 4">
            <a:extLst>
              <a:ext uri="{FF2B5EF4-FFF2-40B4-BE49-F238E27FC236}">
                <a16:creationId xmlns:a16="http://schemas.microsoft.com/office/drawing/2014/main" id="{C63676CE-D05C-1848-9FC1-17D4EC41FDEC}"/>
              </a:ext>
            </a:extLst>
          </p:cNvPr>
          <p:cNvPicPr>
            <a:picLocks noChangeAspect="1"/>
          </p:cNvPicPr>
          <p:nvPr/>
        </p:nvPicPr>
        <p:blipFill rotWithShape="1">
          <a:blip r:embed="rId3"/>
          <a:srcRect l="19325" t="38189" r="19325" b="39918"/>
          <a:stretch/>
        </p:blipFill>
        <p:spPr>
          <a:xfrm>
            <a:off x="667448" y="908049"/>
            <a:ext cx="7205198" cy="3327402"/>
          </a:xfrm>
          <a:prstGeom prst="rect">
            <a:avLst/>
          </a:prstGeom>
        </p:spPr>
      </p:pic>
    </p:spTree>
    <p:extLst>
      <p:ext uri="{BB962C8B-B14F-4D97-AF65-F5344CB8AC3E}">
        <p14:creationId xmlns:p14="http://schemas.microsoft.com/office/powerpoint/2010/main" val="510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2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B05EC-8419-4938-A3C2-DDB2C20A7ED6}"/>
              </a:ext>
            </a:extLst>
          </p:cNvPr>
          <p:cNvSpPr>
            <a:spLocks noGrp="1"/>
          </p:cNvSpPr>
          <p:nvPr>
            <p:ph type="title"/>
          </p:nvPr>
        </p:nvSpPr>
        <p:spPr/>
        <p:txBody>
          <a:bodyPr/>
          <a:lstStyle/>
          <a:p>
            <a:r>
              <a:rPr lang="en-US" dirty="0"/>
              <a:t>Report Summary</a:t>
            </a:r>
          </a:p>
        </p:txBody>
      </p:sp>
      <p:sp>
        <p:nvSpPr>
          <p:cNvPr id="3" name="Content Placeholder 2">
            <a:extLst>
              <a:ext uri="{FF2B5EF4-FFF2-40B4-BE49-F238E27FC236}">
                <a16:creationId xmlns:a16="http://schemas.microsoft.com/office/drawing/2014/main" id="{A431F246-603F-4CB3-A540-323961913B98}"/>
              </a:ext>
            </a:extLst>
          </p:cNvPr>
          <p:cNvSpPr>
            <a:spLocks noGrp="1"/>
          </p:cNvSpPr>
          <p:nvPr>
            <p:ph type="body" sz="quarter" idx="12"/>
          </p:nvPr>
        </p:nvSpPr>
        <p:spPr/>
        <p:txBody>
          <a:bodyPr>
            <a:normAutofit lnSpcReduction="10000"/>
          </a:bodyPr>
          <a:lstStyle/>
          <a:p>
            <a:r>
              <a:rPr lang="en-US" dirty="0">
                <a:solidFill>
                  <a:schemeClr val="accent2"/>
                </a:solidFill>
              </a:rPr>
              <a:t>Insight: </a:t>
            </a:r>
            <a:r>
              <a:rPr lang="en-US" dirty="0"/>
              <a:t>Data-driven insights from Cisco’s 2020 CISO Benchmark survey</a:t>
            </a:r>
          </a:p>
          <a:p>
            <a:r>
              <a:rPr lang="en-US" dirty="0">
                <a:solidFill>
                  <a:schemeClr val="accent2"/>
                </a:solidFill>
              </a:rPr>
              <a:t>Expertise: </a:t>
            </a:r>
            <a:r>
              <a:rPr lang="en-US" dirty="0"/>
              <a:t>Advice from our own Advisory CISOs and security industry experts</a:t>
            </a:r>
          </a:p>
          <a:p>
            <a:r>
              <a:rPr lang="en-US" dirty="0">
                <a:solidFill>
                  <a:schemeClr val="accent2"/>
                </a:solidFill>
              </a:rPr>
              <a:t>Beyond Security: </a:t>
            </a:r>
            <a:r>
              <a:rPr lang="en-US" dirty="0"/>
              <a:t>Recommendations to enable innovation, growth, and profitability</a:t>
            </a:r>
          </a:p>
        </p:txBody>
      </p:sp>
      <p:pic>
        <p:nvPicPr>
          <p:cNvPr id="6" name="Picture 5">
            <a:extLst>
              <a:ext uri="{FF2B5EF4-FFF2-40B4-BE49-F238E27FC236}">
                <a16:creationId xmlns:a16="http://schemas.microsoft.com/office/drawing/2014/main" id="{8A58E7DE-A847-724F-B200-00BC245A06C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32710" r="19752"/>
          <a:stretch/>
        </p:blipFill>
        <p:spPr>
          <a:xfrm>
            <a:off x="5216372" y="618581"/>
            <a:ext cx="3299702" cy="3904413"/>
          </a:xfrm>
          <a:prstGeom prst="rect">
            <a:avLst/>
          </a:prstGeom>
        </p:spPr>
      </p:pic>
      <p:sp>
        <p:nvSpPr>
          <p:cNvPr id="5" name="Rectangle 4">
            <a:hlinkClick r:id="rId3"/>
            <a:extLst>
              <a:ext uri="{FF2B5EF4-FFF2-40B4-BE49-F238E27FC236}">
                <a16:creationId xmlns:a16="http://schemas.microsoft.com/office/drawing/2014/main" id="{FBCB48FD-4656-5E40-8797-7249D8ABAF9F}"/>
              </a:ext>
            </a:extLst>
          </p:cNvPr>
          <p:cNvSpPr/>
          <p:nvPr/>
        </p:nvSpPr>
        <p:spPr>
          <a:xfrm>
            <a:off x="5861180" y="4696897"/>
            <a:ext cx="2654894" cy="307777"/>
          </a:xfrm>
          <a:prstGeom prst="rect">
            <a:avLst/>
          </a:prstGeom>
        </p:spPr>
        <p:txBody>
          <a:bodyPr wrap="none">
            <a:spAutoFit/>
          </a:bodyPr>
          <a:lstStyle/>
          <a:p>
            <a:r>
              <a:rPr lang="en-US" sz="1400" dirty="0">
                <a:solidFill>
                  <a:schemeClr val="accent2"/>
                </a:solidFill>
                <a:latin typeface="+mj-lt"/>
                <a:hlinkClick r:id="rId4"/>
              </a:rPr>
              <a:t>cisco.com/go/</a:t>
            </a:r>
            <a:r>
              <a:rPr lang="en-US" sz="1400" dirty="0" err="1">
                <a:solidFill>
                  <a:schemeClr val="accent2"/>
                </a:solidFill>
                <a:latin typeface="+mj-lt"/>
                <a:hlinkClick r:id="rId4"/>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53111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Title 1">
            <a:extLst>
              <a:ext uri="{FF2B5EF4-FFF2-40B4-BE49-F238E27FC236}">
                <a16:creationId xmlns:a16="http://schemas.microsoft.com/office/drawing/2014/main" id="{BB94C950-99F2-C74C-8D4A-2DD3E6FC0A29}"/>
              </a:ext>
            </a:extLst>
          </p:cNvPr>
          <p:cNvSpPr>
            <a:spLocks noGrp="1"/>
          </p:cNvSpPr>
          <p:nvPr>
            <p:ph type="title"/>
          </p:nvPr>
        </p:nvSpPr>
        <p:spPr/>
        <p:txBody>
          <a:bodyPr/>
          <a:lstStyle/>
          <a:p>
            <a:br>
              <a:rPr lang="en-US"/>
            </a:br>
            <a:r>
              <a:rPr lang="en-US"/>
              <a:t>Journey from Complexity to Simplicity</a:t>
            </a:r>
            <a:br>
              <a:rPr lang="en-US"/>
            </a:br>
            <a:endParaRPr lang="en-US" dirty="0"/>
          </a:p>
        </p:txBody>
      </p:sp>
      <p:sp>
        <p:nvSpPr>
          <p:cNvPr id="3" name="Text Placeholder 2">
            <a:extLst>
              <a:ext uri="{FF2B5EF4-FFF2-40B4-BE49-F238E27FC236}">
                <a16:creationId xmlns:a16="http://schemas.microsoft.com/office/drawing/2014/main" id="{60F28BB7-28A9-E04F-A4FC-52589150888A}"/>
              </a:ext>
            </a:extLst>
          </p:cNvPr>
          <p:cNvSpPr>
            <a:spLocks noGrp="1"/>
          </p:cNvSpPr>
          <p:nvPr>
            <p:ph type="body" sz="quarter" idx="13"/>
          </p:nvPr>
        </p:nvSpPr>
        <p:spPr>
          <a:xfrm>
            <a:off x="4759894" y="1204180"/>
            <a:ext cx="3888806" cy="3324225"/>
          </a:xfrm>
        </p:spPr>
        <p:txBody>
          <a:bodyPr/>
          <a:lstStyle/>
          <a:p>
            <a:pPr>
              <a:spcBef>
                <a:spcPts val="600"/>
              </a:spcBef>
            </a:pPr>
            <a:r>
              <a:rPr lang="en-US" dirty="0"/>
              <a:t>An overly-matrixed vendor landscape complicates security efficiency and efficacy</a:t>
            </a:r>
          </a:p>
          <a:p>
            <a:pPr>
              <a:spcBef>
                <a:spcPts val="600"/>
              </a:spcBef>
            </a:pPr>
            <a:r>
              <a:rPr lang="en-US" dirty="0"/>
              <a:t>The lack of integration multiplies security gaps and doesn’t optimize resources</a:t>
            </a:r>
          </a:p>
          <a:p>
            <a:pPr>
              <a:spcBef>
                <a:spcPts val="600"/>
              </a:spcBef>
            </a:pPr>
            <a:r>
              <a:rPr lang="en-US" dirty="0"/>
              <a:t>A path to an integrated security ecosystem can: </a:t>
            </a:r>
          </a:p>
          <a:p>
            <a:pPr lvl="1"/>
            <a:r>
              <a:rPr lang="en-US" dirty="0"/>
              <a:t>Reduce security risk</a:t>
            </a:r>
          </a:p>
          <a:p>
            <a:pPr lvl="1"/>
            <a:r>
              <a:rPr lang="en-US" dirty="0"/>
              <a:t>Improve operational efficiency</a:t>
            </a:r>
          </a:p>
          <a:p>
            <a:pPr lvl="1"/>
            <a:r>
              <a:rPr lang="en-US" dirty="0"/>
              <a:t>Drive innovation</a:t>
            </a:r>
          </a:p>
          <a:p>
            <a:pPr lvl="1"/>
            <a:r>
              <a:rPr lang="en-US" dirty="0"/>
              <a:t>Boost ROI</a:t>
            </a:r>
          </a:p>
        </p:txBody>
      </p:sp>
      <p:grpSp>
        <p:nvGrpSpPr>
          <p:cNvPr id="7" name="Group 6">
            <a:extLst>
              <a:ext uri="{FF2B5EF4-FFF2-40B4-BE49-F238E27FC236}">
                <a16:creationId xmlns:a16="http://schemas.microsoft.com/office/drawing/2014/main" id="{EB4D17EB-F28D-5640-A2AC-3F5238346989}"/>
              </a:ext>
            </a:extLst>
          </p:cNvPr>
          <p:cNvGrpSpPr/>
          <p:nvPr/>
        </p:nvGrpSpPr>
        <p:grpSpPr>
          <a:xfrm>
            <a:off x="437766" y="1351313"/>
            <a:ext cx="3842183" cy="2934473"/>
            <a:chOff x="261257" y="1351313"/>
            <a:chExt cx="3842183" cy="2934473"/>
          </a:xfrm>
        </p:grpSpPr>
        <p:grpSp>
          <p:nvGrpSpPr>
            <p:cNvPr id="140" name="Group 139">
              <a:extLst>
                <a:ext uri="{FF2B5EF4-FFF2-40B4-BE49-F238E27FC236}">
                  <a16:creationId xmlns:a16="http://schemas.microsoft.com/office/drawing/2014/main" id="{93C6CEEB-E6C5-F740-B1CA-5E701DCD0FF6}"/>
                </a:ext>
              </a:extLst>
            </p:cNvPr>
            <p:cNvGrpSpPr/>
            <p:nvPr/>
          </p:nvGrpSpPr>
          <p:grpSpPr>
            <a:xfrm>
              <a:off x="261257" y="1396925"/>
              <a:ext cx="3082026" cy="2888861"/>
              <a:chOff x="383082" y="1237910"/>
              <a:chExt cx="3013591" cy="2699672"/>
            </a:xfrm>
          </p:grpSpPr>
          <p:grpSp>
            <p:nvGrpSpPr>
              <p:cNvPr id="141" name="Graphic 1">
                <a:extLst>
                  <a:ext uri="{FF2B5EF4-FFF2-40B4-BE49-F238E27FC236}">
                    <a16:creationId xmlns:a16="http://schemas.microsoft.com/office/drawing/2014/main" id="{BEF36F99-80EF-5A42-A289-A74895A7F022}"/>
                  </a:ext>
                </a:extLst>
              </p:cNvPr>
              <p:cNvGrpSpPr/>
              <p:nvPr/>
            </p:nvGrpSpPr>
            <p:grpSpPr>
              <a:xfrm>
                <a:off x="494739" y="1237910"/>
                <a:ext cx="2092880" cy="2093357"/>
                <a:chOff x="3453884" y="801171"/>
                <a:chExt cx="2092880" cy="2093357"/>
              </a:xfrm>
              <a:solidFill>
                <a:srgbClr val="9E9EA2"/>
              </a:solidFill>
            </p:grpSpPr>
            <p:sp>
              <p:nvSpPr>
                <p:cNvPr id="169" name="Freeform: Shape 46">
                  <a:extLst>
                    <a:ext uri="{FF2B5EF4-FFF2-40B4-BE49-F238E27FC236}">
                      <a16:creationId xmlns:a16="http://schemas.microsoft.com/office/drawing/2014/main" id="{89EC62EB-84A7-944D-8B07-BA302D930B7B}"/>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0" name="Freeform: Shape 47">
                  <a:extLst>
                    <a:ext uri="{FF2B5EF4-FFF2-40B4-BE49-F238E27FC236}">
                      <a16:creationId xmlns:a16="http://schemas.microsoft.com/office/drawing/2014/main" id="{EDD52CA2-CB14-CC41-9BCA-D6A3FB68F4E7}"/>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1" name="Freeform: Shape 48">
                  <a:extLst>
                    <a:ext uri="{FF2B5EF4-FFF2-40B4-BE49-F238E27FC236}">
                      <a16:creationId xmlns:a16="http://schemas.microsoft.com/office/drawing/2014/main" id="{7867ED68-FEED-BA49-962B-5ACB68864FE8}"/>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2" name="Freeform: Shape 49">
                  <a:extLst>
                    <a:ext uri="{FF2B5EF4-FFF2-40B4-BE49-F238E27FC236}">
                      <a16:creationId xmlns:a16="http://schemas.microsoft.com/office/drawing/2014/main" id="{49908C2D-93F6-2B43-8FB5-F601A837952E}"/>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3" name="Freeform: Shape 50">
                  <a:extLst>
                    <a:ext uri="{FF2B5EF4-FFF2-40B4-BE49-F238E27FC236}">
                      <a16:creationId xmlns:a16="http://schemas.microsoft.com/office/drawing/2014/main" id="{CCFC8795-E368-604E-B8D8-892C1B84D904}"/>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4" name="Freeform: Shape 51">
                  <a:extLst>
                    <a:ext uri="{FF2B5EF4-FFF2-40B4-BE49-F238E27FC236}">
                      <a16:creationId xmlns:a16="http://schemas.microsoft.com/office/drawing/2014/main" id="{90BAB696-4351-8E44-BF2D-D9789F4485E1}"/>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5" name="Freeform: Shape 52">
                  <a:extLst>
                    <a:ext uri="{FF2B5EF4-FFF2-40B4-BE49-F238E27FC236}">
                      <a16:creationId xmlns:a16="http://schemas.microsoft.com/office/drawing/2014/main" id="{41487B29-5917-564E-A574-98E005205C29}"/>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6" name="Freeform: Shape 53">
                  <a:extLst>
                    <a:ext uri="{FF2B5EF4-FFF2-40B4-BE49-F238E27FC236}">
                      <a16:creationId xmlns:a16="http://schemas.microsoft.com/office/drawing/2014/main" id="{C83043DA-3E65-4544-8B3F-0C540E536CE3}"/>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7" name="Freeform: Shape 54">
                  <a:extLst>
                    <a:ext uri="{FF2B5EF4-FFF2-40B4-BE49-F238E27FC236}">
                      <a16:creationId xmlns:a16="http://schemas.microsoft.com/office/drawing/2014/main" id="{B58EB0A6-4CC5-8A41-A4BB-8BBF6A0A44FB}"/>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8" name="Freeform: Shape 55">
                  <a:extLst>
                    <a:ext uri="{FF2B5EF4-FFF2-40B4-BE49-F238E27FC236}">
                      <a16:creationId xmlns:a16="http://schemas.microsoft.com/office/drawing/2014/main" id="{A43126F6-EB68-6A4F-B127-9753731AF0B0}"/>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79" name="Freeform: Shape 56">
                  <a:extLst>
                    <a:ext uri="{FF2B5EF4-FFF2-40B4-BE49-F238E27FC236}">
                      <a16:creationId xmlns:a16="http://schemas.microsoft.com/office/drawing/2014/main" id="{1FBB343C-4064-9343-BD34-8AF61FD05B43}"/>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0" name="Freeform: Shape 57">
                  <a:extLst>
                    <a:ext uri="{FF2B5EF4-FFF2-40B4-BE49-F238E27FC236}">
                      <a16:creationId xmlns:a16="http://schemas.microsoft.com/office/drawing/2014/main" id="{CFEDE4BB-E7EC-9440-BEE3-A038FE7D7899}"/>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1" name="Freeform: Shape 58">
                  <a:extLst>
                    <a:ext uri="{FF2B5EF4-FFF2-40B4-BE49-F238E27FC236}">
                      <a16:creationId xmlns:a16="http://schemas.microsoft.com/office/drawing/2014/main" id="{1BE72A68-BA2F-434E-985B-6A62A9893F85}"/>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2" name="Freeform: Shape 59">
                  <a:extLst>
                    <a:ext uri="{FF2B5EF4-FFF2-40B4-BE49-F238E27FC236}">
                      <a16:creationId xmlns:a16="http://schemas.microsoft.com/office/drawing/2014/main" id="{11387CE9-CA5D-8D40-8E72-9BE230387D7C}"/>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3" name="Freeform: Shape 60">
                  <a:extLst>
                    <a:ext uri="{FF2B5EF4-FFF2-40B4-BE49-F238E27FC236}">
                      <a16:creationId xmlns:a16="http://schemas.microsoft.com/office/drawing/2014/main" id="{F9361969-8128-9D44-9802-6240EB389213}"/>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4" name="Freeform: Shape 61">
                  <a:extLst>
                    <a:ext uri="{FF2B5EF4-FFF2-40B4-BE49-F238E27FC236}">
                      <a16:creationId xmlns:a16="http://schemas.microsoft.com/office/drawing/2014/main" id="{C7E19B34-366A-5B41-95D2-C4110E04EF26}"/>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5" name="Freeform: Shape 62">
                  <a:extLst>
                    <a:ext uri="{FF2B5EF4-FFF2-40B4-BE49-F238E27FC236}">
                      <a16:creationId xmlns:a16="http://schemas.microsoft.com/office/drawing/2014/main" id="{FADD8847-D302-9D4C-ACE1-EC7E623F4CB8}"/>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6" name="Freeform: Shape 63">
                  <a:extLst>
                    <a:ext uri="{FF2B5EF4-FFF2-40B4-BE49-F238E27FC236}">
                      <a16:creationId xmlns:a16="http://schemas.microsoft.com/office/drawing/2014/main" id="{2C814DC2-56D5-9B4A-B8DB-CA460113140D}"/>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7" name="Freeform: Shape 64">
                  <a:extLst>
                    <a:ext uri="{FF2B5EF4-FFF2-40B4-BE49-F238E27FC236}">
                      <a16:creationId xmlns:a16="http://schemas.microsoft.com/office/drawing/2014/main" id="{3F2219CB-2480-A94D-A47C-8E9A66D3A293}"/>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8" name="Freeform: Shape 65">
                  <a:extLst>
                    <a:ext uri="{FF2B5EF4-FFF2-40B4-BE49-F238E27FC236}">
                      <a16:creationId xmlns:a16="http://schemas.microsoft.com/office/drawing/2014/main" id="{BD9528CD-CEA7-474C-884B-2B7C47070B94}"/>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89" name="Freeform: Shape 66">
                  <a:extLst>
                    <a:ext uri="{FF2B5EF4-FFF2-40B4-BE49-F238E27FC236}">
                      <a16:creationId xmlns:a16="http://schemas.microsoft.com/office/drawing/2014/main" id="{93525192-D11A-6C4B-A041-E05617065BF9}"/>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sp>
              <p:nvSpPr>
                <p:cNvPr id="190" name="Freeform: Shape 67">
                  <a:extLst>
                    <a:ext uri="{FF2B5EF4-FFF2-40B4-BE49-F238E27FC236}">
                      <a16:creationId xmlns:a16="http://schemas.microsoft.com/office/drawing/2014/main" id="{7D426F03-4541-9542-B62D-2004CF6B0E42}"/>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Arial" charset="0"/>
                    <a:ea typeface="ＭＳ Ｐゴシック" charset="0"/>
                  </a:endParaRPr>
                </a:p>
              </p:txBody>
            </p:sp>
          </p:grpSp>
          <p:sp>
            <p:nvSpPr>
              <p:cNvPr id="142" name="Isosceles Triangle 49">
                <a:extLst>
                  <a:ext uri="{FF2B5EF4-FFF2-40B4-BE49-F238E27FC236}">
                    <a16:creationId xmlns:a16="http://schemas.microsoft.com/office/drawing/2014/main" id="{62EC2569-D100-4F43-A2C2-29BDDE393465}"/>
                  </a:ext>
                </a:extLst>
              </p:cNvPr>
              <p:cNvSpPr/>
              <p:nvPr/>
            </p:nvSpPr>
            <p:spPr>
              <a:xfrm rot="5400000">
                <a:off x="805203" y="2100748"/>
                <a:ext cx="408402" cy="35620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3" name="Rectangle: Rounded Corners 20">
                <a:extLst>
                  <a:ext uri="{FF2B5EF4-FFF2-40B4-BE49-F238E27FC236}">
                    <a16:creationId xmlns:a16="http://schemas.microsoft.com/office/drawing/2014/main" id="{A42B71CE-F05B-B044-9C23-CBE5C9B024E6}"/>
                  </a:ext>
                </a:extLst>
              </p:cNvPr>
              <p:cNvSpPr/>
              <p:nvPr/>
            </p:nvSpPr>
            <p:spPr>
              <a:xfrm>
                <a:off x="1360248" y="3240701"/>
                <a:ext cx="1768787" cy="596805"/>
              </a:xfrm>
              <a:prstGeom prst="roundRect">
                <a:avLst/>
              </a:prstGeom>
              <a:solidFill>
                <a:srgbClr val="0D274D">
                  <a:alpha val="4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4" name="Oval 143">
                <a:extLst>
                  <a:ext uri="{FF2B5EF4-FFF2-40B4-BE49-F238E27FC236}">
                    <a16:creationId xmlns:a16="http://schemas.microsoft.com/office/drawing/2014/main" id="{6E9EF01B-542D-6E4C-949B-67F3F54ADB8D}"/>
                  </a:ext>
                </a:extLst>
              </p:cNvPr>
              <p:cNvSpPr/>
              <p:nvPr/>
            </p:nvSpPr>
            <p:spPr>
              <a:xfrm>
                <a:off x="2401934" y="1949573"/>
                <a:ext cx="994738" cy="994737"/>
              </a:xfrm>
              <a:prstGeom prst="ellipse">
                <a:avLst/>
              </a:prstGeom>
              <a:noFill/>
              <a:ln w="12700" cap="flat" cmpd="sng" algn="ctr">
                <a:solidFill>
                  <a:srgbClr val="0D274D"/>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5" name="Oval 144">
                <a:extLst>
                  <a:ext uri="{FF2B5EF4-FFF2-40B4-BE49-F238E27FC236}">
                    <a16:creationId xmlns:a16="http://schemas.microsoft.com/office/drawing/2014/main" id="{8D2853E7-298C-504A-A7EC-97C840307D4D}"/>
                  </a:ext>
                </a:extLst>
              </p:cNvPr>
              <p:cNvSpPr/>
              <p:nvPr/>
            </p:nvSpPr>
            <p:spPr>
              <a:xfrm>
                <a:off x="2299789" y="1833915"/>
                <a:ext cx="1036067" cy="1036067"/>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6" name="Isosceles Triangle 49">
                <a:extLst>
                  <a:ext uri="{FF2B5EF4-FFF2-40B4-BE49-F238E27FC236}">
                    <a16:creationId xmlns:a16="http://schemas.microsoft.com/office/drawing/2014/main" id="{C31E2710-0E87-794B-9B4E-FADF90069566}"/>
                  </a:ext>
                </a:extLst>
              </p:cNvPr>
              <p:cNvSpPr/>
              <p:nvPr/>
            </p:nvSpPr>
            <p:spPr>
              <a:xfrm rot="5400000">
                <a:off x="1999459" y="1507527"/>
                <a:ext cx="353385" cy="308215"/>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47" name="Isosceles Triangle 49">
                <a:extLst>
                  <a:ext uri="{FF2B5EF4-FFF2-40B4-BE49-F238E27FC236}">
                    <a16:creationId xmlns:a16="http://schemas.microsoft.com/office/drawing/2014/main" id="{0B18A174-BC82-F24B-9FF1-1D6F574EB9FB}"/>
                  </a:ext>
                </a:extLst>
              </p:cNvPr>
              <p:cNvSpPr/>
              <p:nvPr/>
            </p:nvSpPr>
            <p:spPr>
              <a:xfrm rot="5400000">
                <a:off x="1078614" y="2752833"/>
                <a:ext cx="563894" cy="49181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8" name="Oval 147">
                <a:extLst>
                  <a:ext uri="{FF2B5EF4-FFF2-40B4-BE49-F238E27FC236}">
                    <a16:creationId xmlns:a16="http://schemas.microsoft.com/office/drawing/2014/main" id="{646A8C17-BFBC-F142-9147-A2687EBA659E}"/>
                  </a:ext>
                </a:extLst>
              </p:cNvPr>
              <p:cNvSpPr/>
              <p:nvPr/>
            </p:nvSpPr>
            <p:spPr>
              <a:xfrm>
                <a:off x="509310" y="2941310"/>
                <a:ext cx="102236" cy="102236"/>
              </a:xfrm>
              <a:prstGeom prst="ellipse">
                <a:avLst/>
              </a:prstGeom>
              <a:solidFill>
                <a:srgbClr val="9E9EA2">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49" name="Oval 148">
                <a:extLst>
                  <a:ext uri="{FF2B5EF4-FFF2-40B4-BE49-F238E27FC236}">
                    <a16:creationId xmlns:a16="http://schemas.microsoft.com/office/drawing/2014/main" id="{C712009C-9533-494A-A388-5CC8C145987C}"/>
                  </a:ext>
                </a:extLst>
              </p:cNvPr>
              <p:cNvSpPr/>
              <p:nvPr/>
            </p:nvSpPr>
            <p:spPr>
              <a:xfrm>
                <a:off x="2003599" y="2041381"/>
                <a:ext cx="102236" cy="102236"/>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0" name="Oval 149">
                <a:extLst>
                  <a:ext uri="{FF2B5EF4-FFF2-40B4-BE49-F238E27FC236}">
                    <a16:creationId xmlns:a16="http://schemas.microsoft.com/office/drawing/2014/main" id="{A9108C51-ED1C-7642-8258-5EA80CF98CA1}"/>
                  </a:ext>
                </a:extLst>
              </p:cNvPr>
              <p:cNvSpPr/>
              <p:nvPr/>
            </p:nvSpPr>
            <p:spPr>
              <a:xfrm>
                <a:off x="1214709" y="3040461"/>
                <a:ext cx="102236" cy="102236"/>
              </a:xfrm>
              <a:prstGeom prst="ellipse">
                <a:avLst/>
              </a:prstGeom>
              <a:solidFill>
                <a:srgbClr val="0D274D">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1" name="Oval 150">
                <a:extLst>
                  <a:ext uri="{FF2B5EF4-FFF2-40B4-BE49-F238E27FC236}">
                    <a16:creationId xmlns:a16="http://schemas.microsoft.com/office/drawing/2014/main" id="{B35E4581-62FA-E444-A354-705490F64995}"/>
                  </a:ext>
                </a:extLst>
              </p:cNvPr>
              <p:cNvSpPr/>
              <p:nvPr/>
            </p:nvSpPr>
            <p:spPr>
              <a:xfrm>
                <a:off x="3055789" y="3080786"/>
                <a:ext cx="102236" cy="102236"/>
              </a:xfrm>
              <a:prstGeom prst="ellipse">
                <a:avLst/>
              </a:prstGeom>
              <a:solidFill>
                <a:srgbClr val="6EBE4A">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2" name="Oval 151">
                <a:extLst>
                  <a:ext uri="{FF2B5EF4-FFF2-40B4-BE49-F238E27FC236}">
                    <a16:creationId xmlns:a16="http://schemas.microsoft.com/office/drawing/2014/main" id="{B18D351A-660A-E34B-9F9A-DDE3AB6B8393}"/>
                  </a:ext>
                </a:extLst>
              </p:cNvPr>
              <p:cNvSpPr/>
              <p:nvPr/>
            </p:nvSpPr>
            <p:spPr>
              <a:xfrm>
                <a:off x="3280521" y="3001114"/>
                <a:ext cx="102236" cy="102236"/>
              </a:xfrm>
              <a:prstGeom prst="ellipse">
                <a:avLst/>
              </a:prstGeom>
              <a:solidFill>
                <a:srgbClr val="9E9EA2">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3" name="Rectangle: Rounded Corners 20">
                <a:extLst>
                  <a:ext uri="{FF2B5EF4-FFF2-40B4-BE49-F238E27FC236}">
                    <a16:creationId xmlns:a16="http://schemas.microsoft.com/office/drawing/2014/main" id="{9E4E2CF9-2939-AF44-88B5-50B09EEB24E0}"/>
                  </a:ext>
                </a:extLst>
              </p:cNvPr>
              <p:cNvSpPr/>
              <p:nvPr/>
            </p:nvSpPr>
            <p:spPr>
              <a:xfrm>
                <a:off x="1360248" y="3240706"/>
                <a:ext cx="1768788" cy="596806"/>
              </a:xfrm>
              <a:prstGeom prst="roundRect">
                <a:avLst/>
              </a:prstGeom>
              <a:solidFill>
                <a:srgbClr val="0D274D">
                  <a:alpha val="4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4" name="Oval 21">
                <a:extLst>
                  <a:ext uri="{FF2B5EF4-FFF2-40B4-BE49-F238E27FC236}">
                    <a16:creationId xmlns:a16="http://schemas.microsoft.com/office/drawing/2014/main" id="{89BE738A-78AC-8544-9D3C-BA0B31975BD8}"/>
                  </a:ext>
                </a:extLst>
              </p:cNvPr>
              <p:cNvSpPr/>
              <p:nvPr/>
            </p:nvSpPr>
            <p:spPr>
              <a:xfrm>
                <a:off x="2401935" y="1949576"/>
                <a:ext cx="994738" cy="994739"/>
              </a:xfrm>
              <a:prstGeom prst="ellipse">
                <a:avLst/>
              </a:prstGeom>
              <a:noFill/>
              <a:ln w="12700" cap="flat" cmpd="sng" algn="ctr">
                <a:solidFill>
                  <a:srgbClr val="0D274D"/>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5" name="Oval 22">
                <a:extLst>
                  <a:ext uri="{FF2B5EF4-FFF2-40B4-BE49-F238E27FC236}">
                    <a16:creationId xmlns:a16="http://schemas.microsoft.com/office/drawing/2014/main" id="{92252478-B4F1-D44E-8E38-9DA9572B6DFA}"/>
                  </a:ext>
                </a:extLst>
              </p:cNvPr>
              <p:cNvSpPr/>
              <p:nvPr/>
            </p:nvSpPr>
            <p:spPr>
              <a:xfrm>
                <a:off x="2299790" y="1833918"/>
                <a:ext cx="1036067" cy="1036068"/>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156" name="Picture 23" descr="A black and white photo of a person&#10;&#10;Description automatically generated">
                <a:extLst>
                  <a:ext uri="{FF2B5EF4-FFF2-40B4-BE49-F238E27FC236}">
                    <a16:creationId xmlns:a16="http://schemas.microsoft.com/office/drawing/2014/main" id="{7D29EF16-5CBC-F449-AEDD-523972F121E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6933" y="2072630"/>
                <a:ext cx="2789647" cy="1864952"/>
              </a:xfrm>
              <a:prstGeom prst="rect">
                <a:avLst/>
              </a:prstGeom>
            </p:spPr>
          </p:pic>
          <p:sp>
            <p:nvSpPr>
              <p:cNvPr id="157" name="Isosceles Triangle 49">
                <a:extLst>
                  <a:ext uri="{FF2B5EF4-FFF2-40B4-BE49-F238E27FC236}">
                    <a16:creationId xmlns:a16="http://schemas.microsoft.com/office/drawing/2014/main" id="{95A4CF4D-5047-EF4E-896C-703702E64C5E}"/>
                  </a:ext>
                </a:extLst>
              </p:cNvPr>
              <p:cNvSpPr/>
              <p:nvPr/>
            </p:nvSpPr>
            <p:spPr>
              <a:xfrm rot="5400000">
                <a:off x="1999459" y="1507527"/>
                <a:ext cx="393697" cy="3433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58" name="Isosceles Triangle 49">
                <a:extLst>
                  <a:ext uri="{FF2B5EF4-FFF2-40B4-BE49-F238E27FC236}">
                    <a16:creationId xmlns:a16="http://schemas.microsoft.com/office/drawing/2014/main" id="{F6656E2F-03B8-3241-842E-DEBDE4154839}"/>
                  </a:ext>
                </a:extLst>
              </p:cNvPr>
              <p:cNvSpPr/>
              <p:nvPr/>
            </p:nvSpPr>
            <p:spPr>
              <a:xfrm rot="5400000">
                <a:off x="1078614" y="2752834"/>
                <a:ext cx="563894" cy="49181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4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59" name="Oval 29">
                <a:extLst>
                  <a:ext uri="{FF2B5EF4-FFF2-40B4-BE49-F238E27FC236}">
                    <a16:creationId xmlns:a16="http://schemas.microsoft.com/office/drawing/2014/main" id="{D9ED509F-DB68-3D45-90C6-006BDC6A09B5}"/>
                  </a:ext>
                </a:extLst>
              </p:cNvPr>
              <p:cNvSpPr/>
              <p:nvPr/>
            </p:nvSpPr>
            <p:spPr>
              <a:xfrm>
                <a:off x="509310" y="2941314"/>
                <a:ext cx="102236" cy="102236"/>
              </a:xfrm>
              <a:prstGeom prst="ellipse">
                <a:avLst/>
              </a:prstGeom>
              <a:solidFill>
                <a:srgbClr val="9E9EA2">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0" name="Oval 30">
                <a:extLst>
                  <a:ext uri="{FF2B5EF4-FFF2-40B4-BE49-F238E27FC236}">
                    <a16:creationId xmlns:a16="http://schemas.microsoft.com/office/drawing/2014/main" id="{0900CADD-5DD7-F447-A976-24DB460DDD27}"/>
                  </a:ext>
                </a:extLst>
              </p:cNvPr>
              <p:cNvSpPr/>
              <p:nvPr/>
            </p:nvSpPr>
            <p:spPr>
              <a:xfrm>
                <a:off x="2003599" y="2041384"/>
                <a:ext cx="102236" cy="102236"/>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1" name="Oval 34">
                <a:extLst>
                  <a:ext uri="{FF2B5EF4-FFF2-40B4-BE49-F238E27FC236}">
                    <a16:creationId xmlns:a16="http://schemas.microsoft.com/office/drawing/2014/main" id="{84973140-24B3-C745-B360-2DC396CED31F}"/>
                  </a:ext>
                </a:extLst>
              </p:cNvPr>
              <p:cNvSpPr/>
              <p:nvPr/>
            </p:nvSpPr>
            <p:spPr>
              <a:xfrm>
                <a:off x="1214710" y="3040466"/>
                <a:ext cx="102236" cy="102236"/>
              </a:xfrm>
              <a:prstGeom prst="ellipse">
                <a:avLst/>
              </a:prstGeom>
              <a:solidFill>
                <a:srgbClr val="0D274D">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2" name="Oval 36">
                <a:extLst>
                  <a:ext uri="{FF2B5EF4-FFF2-40B4-BE49-F238E27FC236}">
                    <a16:creationId xmlns:a16="http://schemas.microsoft.com/office/drawing/2014/main" id="{B69C65B2-2195-7D41-B2E9-AAB7955F05AB}"/>
                  </a:ext>
                </a:extLst>
              </p:cNvPr>
              <p:cNvSpPr/>
              <p:nvPr/>
            </p:nvSpPr>
            <p:spPr>
              <a:xfrm>
                <a:off x="3055790" y="3080791"/>
                <a:ext cx="102236" cy="102236"/>
              </a:xfrm>
              <a:prstGeom prst="ellipse">
                <a:avLst/>
              </a:prstGeom>
              <a:solidFill>
                <a:srgbClr val="6EBE4A">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3" name="Oval 39">
                <a:extLst>
                  <a:ext uri="{FF2B5EF4-FFF2-40B4-BE49-F238E27FC236}">
                    <a16:creationId xmlns:a16="http://schemas.microsoft.com/office/drawing/2014/main" id="{20462BB0-644B-1749-9021-3CAEE3515BA7}"/>
                  </a:ext>
                </a:extLst>
              </p:cNvPr>
              <p:cNvSpPr/>
              <p:nvPr/>
            </p:nvSpPr>
            <p:spPr>
              <a:xfrm>
                <a:off x="3280522" y="3001118"/>
                <a:ext cx="102236" cy="102236"/>
              </a:xfrm>
              <a:prstGeom prst="ellipse">
                <a:avLst/>
              </a:prstGeom>
              <a:solidFill>
                <a:srgbClr val="9E9EA2">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4" name="Isosceles Triangle 49">
                <a:extLst>
                  <a:ext uri="{FF2B5EF4-FFF2-40B4-BE49-F238E27FC236}">
                    <a16:creationId xmlns:a16="http://schemas.microsoft.com/office/drawing/2014/main" id="{43B3EE0A-2164-B84D-8874-835A6786D9BD}"/>
                  </a:ext>
                </a:extLst>
              </p:cNvPr>
              <p:cNvSpPr/>
              <p:nvPr/>
            </p:nvSpPr>
            <p:spPr>
              <a:xfrm rot="5400000">
                <a:off x="1167272" y="1832229"/>
                <a:ext cx="987517" cy="8612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sp>
            <p:nvSpPr>
              <p:cNvPr id="165" name="Rectangle: Rounded Corners 24">
                <a:extLst>
                  <a:ext uri="{FF2B5EF4-FFF2-40B4-BE49-F238E27FC236}">
                    <a16:creationId xmlns:a16="http://schemas.microsoft.com/office/drawing/2014/main" id="{8274018B-8B76-8C43-93A0-03A37A9D3455}"/>
                  </a:ext>
                </a:extLst>
              </p:cNvPr>
              <p:cNvSpPr/>
              <p:nvPr/>
            </p:nvSpPr>
            <p:spPr>
              <a:xfrm>
                <a:off x="1237110" y="3076409"/>
                <a:ext cx="1768787" cy="596804"/>
              </a:xfrm>
              <a:prstGeom prst="roundRect">
                <a:avLst/>
              </a:prstGeom>
              <a:noFill/>
              <a:ln w="12700" cap="flat" cmpd="sng" algn="ctr">
                <a:solidFill>
                  <a:srgbClr val="9E9EA2">
                    <a:alpha val="60000"/>
                  </a:srgbClr>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6" name="Oval 165">
                <a:extLst>
                  <a:ext uri="{FF2B5EF4-FFF2-40B4-BE49-F238E27FC236}">
                    <a16:creationId xmlns:a16="http://schemas.microsoft.com/office/drawing/2014/main" id="{F3CD742E-9DC9-6245-A172-AAA91934D50A}"/>
                  </a:ext>
                </a:extLst>
              </p:cNvPr>
              <p:cNvSpPr/>
              <p:nvPr/>
            </p:nvSpPr>
            <p:spPr>
              <a:xfrm>
                <a:off x="2722604" y="3421461"/>
                <a:ext cx="102236" cy="102236"/>
              </a:xfrm>
              <a:prstGeom prst="ellipse">
                <a:avLst/>
              </a:prstGeom>
              <a:solidFill>
                <a:srgbClr val="0D274D">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7" name="Oval 35">
                <a:extLst>
                  <a:ext uri="{FF2B5EF4-FFF2-40B4-BE49-F238E27FC236}">
                    <a16:creationId xmlns:a16="http://schemas.microsoft.com/office/drawing/2014/main" id="{1B4DC3D2-D9BC-C64E-8D0D-35CE3A4602D6}"/>
                  </a:ext>
                </a:extLst>
              </p:cNvPr>
              <p:cNvSpPr/>
              <p:nvPr/>
            </p:nvSpPr>
            <p:spPr>
              <a:xfrm>
                <a:off x="2722605" y="3421466"/>
                <a:ext cx="102236" cy="102236"/>
              </a:xfrm>
              <a:prstGeom prst="ellipse">
                <a:avLst/>
              </a:prstGeom>
              <a:solidFill>
                <a:srgbClr val="0D274D">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68" name="Isosceles Triangle 49">
                <a:extLst>
                  <a:ext uri="{FF2B5EF4-FFF2-40B4-BE49-F238E27FC236}">
                    <a16:creationId xmlns:a16="http://schemas.microsoft.com/office/drawing/2014/main" id="{FD78CB66-854E-A146-B3CD-159BDD53BF26}"/>
                  </a:ext>
                </a:extLst>
              </p:cNvPr>
              <p:cNvSpPr/>
              <p:nvPr/>
            </p:nvSpPr>
            <p:spPr>
              <a:xfrm rot="5400000">
                <a:off x="356980" y="1773686"/>
                <a:ext cx="408403" cy="35620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6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sp>
          <p:nvSpPr>
            <p:cNvPr id="191" name="Rectangle: Rounded Corners 92">
              <a:extLst>
                <a:ext uri="{FF2B5EF4-FFF2-40B4-BE49-F238E27FC236}">
                  <a16:creationId xmlns:a16="http://schemas.microsoft.com/office/drawing/2014/main" id="{FE16F500-1E39-D348-8FBD-729A030ED9B4}"/>
                </a:ext>
              </a:extLst>
            </p:cNvPr>
            <p:cNvSpPr/>
            <p:nvPr/>
          </p:nvSpPr>
          <p:spPr>
            <a:xfrm flipV="1">
              <a:off x="2853507" y="1529358"/>
              <a:ext cx="535875" cy="259170"/>
            </a:xfrm>
            <a:prstGeom prst="roundRect">
              <a:avLst/>
            </a:prstGeom>
            <a:solidFill>
              <a:srgbClr val="00BCEB">
                <a:alpha val="20000"/>
              </a:srgbClr>
            </a:solidFill>
            <a:ln w="127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92" name="Rectangle: Rounded Corners 91">
              <a:extLst>
                <a:ext uri="{FF2B5EF4-FFF2-40B4-BE49-F238E27FC236}">
                  <a16:creationId xmlns:a16="http://schemas.microsoft.com/office/drawing/2014/main" id="{E4569B27-0115-614E-A694-C2790F3D747E}"/>
                </a:ext>
              </a:extLst>
            </p:cNvPr>
            <p:cNvSpPr/>
            <p:nvPr/>
          </p:nvSpPr>
          <p:spPr>
            <a:xfrm flipV="1">
              <a:off x="2713509" y="1424130"/>
              <a:ext cx="535875" cy="259170"/>
            </a:xfrm>
            <a:prstGeom prst="roundRect">
              <a:avLst/>
            </a:prstGeom>
            <a:solidFill>
              <a:srgbClr val="9E9EA2">
                <a:alpha val="40000"/>
              </a:srgbClr>
            </a:solidFill>
            <a:ln w="127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93" name="Isosceles Triangle 49">
              <a:extLst>
                <a:ext uri="{FF2B5EF4-FFF2-40B4-BE49-F238E27FC236}">
                  <a16:creationId xmlns:a16="http://schemas.microsoft.com/office/drawing/2014/main" id="{62F26BC4-217F-A647-A164-879FE24D3096}"/>
                </a:ext>
              </a:extLst>
            </p:cNvPr>
            <p:cNvSpPr/>
            <p:nvPr/>
          </p:nvSpPr>
          <p:spPr>
            <a:xfrm rot="16200000" flipV="1">
              <a:off x="3706589" y="1435511"/>
              <a:ext cx="415108" cy="3693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cap="flat" cmpd="sng" algn="ctr">
              <a:solidFill>
                <a:srgbClr val="00BCEB"/>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94" name="Freeform: Shape 3">
              <a:extLst>
                <a:ext uri="{FF2B5EF4-FFF2-40B4-BE49-F238E27FC236}">
                  <a16:creationId xmlns:a16="http://schemas.microsoft.com/office/drawing/2014/main" id="{B0812725-D6D3-424B-B0E0-ADF74FC66AEB}"/>
                </a:ext>
              </a:extLst>
            </p:cNvPr>
            <p:cNvSpPr/>
            <p:nvPr/>
          </p:nvSpPr>
          <p:spPr>
            <a:xfrm flipV="1">
              <a:off x="2409079" y="1620205"/>
              <a:ext cx="1317324" cy="490975"/>
            </a:xfrm>
            <a:custGeom>
              <a:avLst/>
              <a:gdLst>
                <a:gd name="connsiteX0" fmla="*/ 133350 w 3028950"/>
                <a:gd name="connsiteY0" fmla="*/ 0 h 504825"/>
                <a:gd name="connsiteX1" fmla="*/ 0 w 3028950"/>
                <a:gd name="connsiteY1" fmla="*/ 133350 h 504825"/>
                <a:gd name="connsiteX2" fmla="*/ 0 w 3028950"/>
                <a:gd name="connsiteY2" fmla="*/ 352425 h 504825"/>
                <a:gd name="connsiteX3" fmla="*/ 152400 w 3028950"/>
                <a:gd name="connsiteY3" fmla="*/ 504825 h 504825"/>
                <a:gd name="connsiteX4" fmla="*/ 3028950 w 3028950"/>
                <a:gd name="connsiteY4" fmla="*/ 504825 h 504825"/>
                <a:gd name="connsiteX0" fmla="*/ 133350 w 3028950"/>
                <a:gd name="connsiteY0" fmla="*/ 0 h 504825"/>
                <a:gd name="connsiteX1" fmla="*/ 0 w 3028950"/>
                <a:gd name="connsiteY1" fmla="*/ 133350 h 504825"/>
                <a:gd name="connsiteX2" fmla="*/ 0 w 3028950"/>
                <a:gd name="connsiteY2" fmla="*/ 352425 h 504825"/>
                <a:gd name="connsiteX3" fmla="*/ 152400 w 3028950"/>
                <a:gd name="connsiteY3" fmla="*/ 504825 h 504825"/>
                <a:gd name="connsiteX4" fmla="*/ 3028950 w 3028950"/>
                <a:gd name="connsiteY4" fmla="*/ 504825 h 504825"/>
                <a:gd name="connsiteX0" fmla="*/ 133350 w 3028950"/>
                <a:gd name="connsiteY0" fmla="*/ 0 h 504933"/>
                <a:gd name="connsiteX1" fmla="*/ 0 w 3028950"/>
                <a:gd name="connsiteY1" fmla="*/ 133350 h 504933"/>
                <a:gd name="connsiteX2" fmla="*/ 0 w 3028950"/>
                <a:gd name="connsiteY2" fmla="*/ 352425 h 504933"/>
                <a:gd name="connsiteX3" fmla="*/ 152400 w 3028950"/>
                <a:gd name="connsiteY3" fmla="*/ 504825 h 504933"/>
                <a:gd name="connsiteX4" fmla="*/ 3028950 w 3028950"/>
                <a:gd name="connsiteY4" fmla="*/ 504825 h 504933"/>
                <a:gd name="connsiteX0" fmla="*/ 133350 w 3028950"/>
                <a:gd name="connsiteY0" fmla="*/ 0 h 504967"/>
                <a:gd name="connsiteX1" fmla="*/ 0 w 3028950"/>
                <a:gd name="connsiteY1" fmla="*/ 133350 h 504967"/>
                <a:gd name="connsiteX2" fmla="*/ 0 w 3028950"/>
                <a:gd name="connsiteY2" fmla="*/ 352425 h 504967"/>
                <a:gd name="connsiteX3" fmla="*/ 152400 w 3028950"/>
                <a:gd name="connsiteY3" fmla="*/ 504825 h 504967"/>
                <a:gd name="connsiteX4" fmla="*/ 3028950 w 3028950"/>
                <a:gd name="connsiteY4" fmla="*/ 504825 h 504967"/>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493180"/>
                <a:gd name="connsiteX1" fmla="*/ 2381 w 3031331"/>
                <a:gd name="connsiteY1" fmla="*/ 121444 h 493180"/>
                <a:gd name="connsiteX2" fmla="*/ 0 w 3031331"/>
                <a:gd name="connsiteY2" fmla="*/ 378619 h 493180"/>
                <a:gd name="connsiteX3" fmla="*/ 154781 w 3031331"/>
                <a:gd name="connsiteY3" fmla="*/ 492919 h 493180"/>
                <a:gd name="connsiteX4" fmla="*/ 3031331 w 3031331"/>
                <a:gd name="connsiteY4" fmla="*/ 492919 h 493180"/>
                <a:gd name="connsiteX0" fmla="*/ 135731 w 3031331"/>
                <a:gd name="connsiteY0" fmla="*/ 0 h 493180"/>
                <a:gd name="connsiteX1" fmla="*/ 2381 w 3031331"/>
                <a:gd name="connsiteY1" fmla="*/ 121444 h 493180"/>
                <a:gd name="connsiteX2" fmla="*/ 0 w 3031331"/>
                <a:gd name="connsiteY2" fmla="*/ 378619 h 493180"/>
                <a:gd name="connsiteX3" fmla="*/ 154781 w 3031331"/>
                <a:gd name="connsiteY3" fmla="*/ 492919 h 493180"/>
                <a:gd name="connsiteX4" fmla="*/ 3031331 w 3031331"/>
                <a:gd name="connsiteY4" fmla="*/ 492919 h 493180"/>
                <a:gd name="connsiteX0" fmla="*/ 145256 w 3031331"/>
                <a:gd name="connsiteY0" fmla="*/ 0 h 490799"/>
                <a:gd name="connsiteX1" fmla="*/ 2381 w 3031331"/>
                <a:gd name="connsiteY1" fmla="*/ 119063 h 490799"/>
                <a:gd name="connsiteX2" fmla="*/ 0 w 3031331"/>
                <a:gd name="connsiteY2" fmla="*/ 376238 h 490799"/>
                <a:gd name="connsiteX3" fmla="*/ 154781 w 3031331"/>
                <a:gd name="connsiteY3" fmla="*/ 490538 h 490799"/>
                <a:gd name="connsiteX4" fmla="*/ 3031331 w 3031331"/>
                <a:gd name="connsiteY4" fmla="*/ 490538 h 490799"/>
                <a:gd name="connsiteX0" fmla="*/ 145256 w 3031331"/>
                <a:gd name="connsiteY0" fmla="*/ 176 h 490975"/>
                <a:gd name="connsiteX1" fmla="*/ 2381 w 3031331"/>
                <a:gd name="connsiteY1" fmla="*/ 119239 h 490975"/>
                <a:gd name="connsiteX2" fmla="*/ 0 w 3031331"/>
                <a:gd name="connsiteY2" fmla="*/ 376414 h 490975"/>
                <a:gd name="connsiteX3" fmla="*/ 154781 w 3031331"/>
                <a:gd name="connsiteY3" fmla="*/ 490714 h 490975"/>
                <a:gd name="connsiteX4" fmla="*/ 3031331 w 3031331"/>
                <a:gd name="connsiteY4" fmla="*/ 490714 h 49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1331" h="490975">
                  <a:moveTo>
                    <a:pt x="145256" y="176"/>
                  </a:moveTo>
                  <a:cubicBezTo>
                    <a:pt x="69849" y="-2998"/>
                    <a:pt x="3968" y="36689"/>
                    <a:pt x="2381" y="119239"/>
                  </a:cubicBezTo>
                  <a:cubicBezTo>
                    <a:pt x="1587" y="204964"/>
                    <a:pt x="794" y="290689"/>
                    <a:pt x="0" y="376414"/>
                  </a:cubicBezTo>
                  <a:cubicBezTo>
                    <a:pt x="794" y="453408"/>
                    <a:pt x="70643" y="494682"/>
                    <a:pt x="154781" y="490714"/>
                  </a:cubicBezTo>
                  <a:lnTo>
                    <a:pt x="3031331" y="490714"/>
                  </a:lnTo>
                </a:path>
              </a:pathLst>
            </a:custGeom>
            <a:noFill/>
            <a:ln w="12700" cap="flat" cmpd="sng" algn="ctr">
              <a:solidFill>
                <a:srgbClr val="00BCEB"/>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95" name="Isosceles Triangle 49">
              <a:extLst>
                <a:ext uri="{FF2B5EF4-FFF2-40B4-BE49-F238E27FC236}">
                  <a16:creationId xmlns:a16="http://schemas.microsoft.com/office/drawing/2014/main" id="{7E27DC7E-82A4-6A47-9234-FC5C4C013FE9}"/>
                </a:ext>
              </a:extLst>
            </p:cNvPr>
            <p:cNvSpPr/>
            <p:nvPr/>
          </p:nvSpPr>
          <p:spPr>
            <a:xfrm rot="16200000" flipV="1">
              <a:off x="3770108" y="1374071"/>
              <a:ext cx="356089" cy="3105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201" name="Group 200">
              <a:extLst>
                <a:ext uri="{FF2B5EF4-FFF2-40B4-BE49-F238E27FC236}">
                  <a16:creationId xmlns:a16="http://schemas.microsoft.com/office/drawing/2014/main" id="{9A9716A0-D085-AB45-99B4-7E967AFF13ED}"/>
                </a:ext>
              </a:extLst>
            </p:cNvPr>
            <p:cNvGrpSpPr/>
            <p:nvPr/>
          </p:nvGrpSpPr>
          <p:grpSpPr>
            <a:xfrm>
              <a:off x="3692741" y="1985565"/>
              <a:ext cx="373995" cy="476450"/>
              <a:chOff x="4217747" y="1503713"/>
              <a:chExt cx="373995" cy="476450"/>
            </a:xfrm>
          </p:grpSpPr>
          <p:sp>
            <p:nvSpPr>
              <p:cNvPr id="202" name="Isosceles Triangle 49">
                <a:extLst>
                  <a:ext uri="{FF2B5EF4-FFF2-40B4-BE49-F238E27FC236}">
                    <a16:creationId xmlns:a16="http://schemas.microsoft.com/office/drawing/2014/main" id="{D1074039-9058-664C-9BB9-CB3759C5B853}"/>
                  </a:ext>
                </a:extLst>
              </p:cNvPr>
              <p:cNvSpPr/>
              <p:nvPr/>
            </p:nvSpPr>
            <p:spPr>
              <a:xfrm rot="16200000" flipV="1">
                <a:off x="4194891" y="1587911"/>
                <a:ext cx="415108" cy="3693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cap="flat" cmpd="sng" algn="ctr">
                <a:solidFill>
                  <a:srgbClr val="00BCEB"/>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03" name="Isosceles Triangle 49">
                <a:extLst>
                  <a:ext uri="{FF2B5EF4-FFF2-40B4-BE49-F238E27FC236}">
                    <a16:creationId xmlns:a16="http://schemas.microsoft.com/office/drawing/2014/main" id="{03FBA94D-FB00-7447-9571-F9098A0E0D59}"/>
                  </a:ext>
                </a:extLst>
              </p:cNvPr>
              <p:cNvSpPr/>
              <p:nvPr/>
            </p:nvSpPr>
            <p:spPr>
              <a:xfrm rot="16200000" flipV="1">
                <a:off x="4258410" y="1526471"/>
                <a:ext cx="356089" cy="3105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nvGrpSpPr>
            <p:cNvPr id="212" name="Group 211">
              <a:extLst>
                <a:ext uri="{FF2B5EF4-FFF2-40B4-BE49-F238E27FC236}">
                  <a16:creationId xmlns:a16="http://schemas.microsoft.com/office/drawing/2014/main" id="{00FE0125-0EC7-2446-96F0-0EF9ECE19744}"/>
                </a:ext>
              </a:extLst>
            </p:cNvPr>
            <p:cNvGrpSpPr/>
            <p:nvPr/>
          </p:nvGrpSpPr>
          <p:grpSpPr>
            <a:xfrm>
              <a:off x="3692741" y="2547963"/>
              <a:ext cx="373995" cy="476450"/>
              <a:chOff x="4217747" y="1503713"/>
              <a:chExt cx="373995" cy="476450"/>
            </a:xfrm>
          </p:grpSpPr>
          <p:sp>
            <p:nvSpPr>
              <p:cNvPr id="213" name="Isosceles Triangle 49">
                <a:extLst>
                  <a:ext uri="{FF2B5EF4-FFF2-40B4-BE49-F238E27FC236}">
                    <a16:creationId xmlns:a16="http://schemas.microsoft.com/office/drawing/2014/main" id="{7AFAA7F1-7D3E-624D-B237-32F5F86A5B19}"/>
                  </a:ext>
                </a:extLst>
              </p:cNvPr>
              <p:cNvSpPr/>
              <p:nvPr/>
            </p:nvSpPr>
            <p:spPr>
              <a:xfrm rot="16200000" flipV="1">
                <a:off x="4194891" y="1587911"/>
                <a:ext cx="415108" cy="3693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cap="flat" cmpd="sng" algn="ctr">
                <a:solidFill>
                  <a:srgbClr val="00BCEB"/>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214" name="Isosceles Triangle 49">
                <a:extLst>
                  <a:ext uri="{FF2B5EF4-FFF2-40B4-BE49-F238E27FC236}">
                    <a16:creationId xmlns:a16="http://schemas.microsoft.com/office/drawing/2014/main" id="{2CDCE2F7-F5EE-384F-AB44-29705C55F1FE}"/>
                  </a:ext>
                </a:extLst>
              </p:cNvPr>
              <p:cNvSpPr/>
              <p:nvPr/>
            </p:nvSpPr>
            <p:spPr>
              <a:xfrm rot="16200000" flipV="1">
                <a:off x="4258410" y="1526471"/>
                <a:ext cx="356089" cy="3105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grpSp>
      <p:sp>
        <p:nvSpPr>
          <p:cNvPr id="68" name="Rectangle 67">
            <a:hlinkClick r:id="rId4"/>
            <a:extLst>
              <a:ext uri="{FF2B5EF4-FFF2-40B4-BE49-F238E27FC236}">
                <a16:creationId xmlns:a16="http://schemas.microsoft.com/office/drawing/2014/main" id="{5BA22CF9-DCB6-4B31-AF72-27091389D6E3}"/>
              </a:ext>
            </a:extLst>
          </p:cNvPr>
          <p:cNvSpPr/>
          <p:nvPr/>
        </p:nvSpPr>
        <p:spPr>
          <a:xfrm>
            <a:off x="5868422" y="4703902"/>
            <a:ext cx="2654894" cy="307777"/>
          </a:xfrm>
          <a:prstGeom prst="rect">
            <a:avLst/>
          </a:prstGeom>
        </p:spPr>
        <p:txBody>
          <a:bodyPr wrap="none">
            <a:spAutoFit/>
          </a:bodyPr>
          <a:lstStyle/>
          <a:p>
            <a:r>
              <a:rPr lang="en-US" sz="1400" dirty="0">
                <a:solidFill>
                  <a:schemeClr val="accent2"/>
                </a:solidFill>
                <a:latin typeface="+mj-lt"/>
                <a:hlinkClick r:id="rId5"/>
              </a:rPr>
              <a:t>cisco.com/go/</a:t>
            </a:r>
            <a:r>
              <a:rPr lang="en-US" sz="1400" dirty="0" err="1">
                <a:solidFill>
                  <a:schemeClr val="accent2"/>
                </a:solidFill>
                <a:latin typeface="+mj-lt"/>
                <a:hlinkClick r:id="rId5"/>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19974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0" name="Straight Connector 239">
            <a:extLst>
              <a:ext uri="{FF2B5EF4-FFF2-40B4-BE49-F238E27FC236}">
                <a16:creationId xmlns:a16="http://schemas.microsoft.com/office/drawing/2014/main" id="{3A04693B-66F8-3C45-8B10-960FF44FEF8A}"/>
              </a:ext>
            </a:extLst>
          </p:cNvPr>
          <p:cNvCxnSpPr>
            <a:cxnSpLocks/>
          </p:cNvCxnSpPr>
          <p:nvPr/>
        </p:nvCxnSpPr>
        <p:spPr>
          <a:xfrm>
            <a:off x="4564511" y="1201738"/>
            <a:ext cx="0" cy="3313112"/>
          </a:xfrm>
          <a:prstGeom prst="line">
            <a:avLst/>
          </a:prstGeom>
          <a:noFill/>
          <a:ln w="9525" cap="flat" cmpd="sng" algn="ctr">
            <a:solidFill>
              <a:srgbClr val="00BCEB"/>
            </a:solidFill>
            <a:prstDash val="solid"/>
          </a:ln>
          <a:effectLst/>
        </p:spPr>
      </p:cxnSp>
      <p:sp>
        <p:nvSpPr>
          <p:cNvPr id="241" name="Rectangle 240">
            <a:extLst>
              <a:ext uri="{FF2B5EF4-FFF2-40B4-BE49-F238E27FC236}">
                <a16:creationId xmlns:a16="http://schemas.microsoft.com/office/drawing/2014/main" id="{BD028D8E-5487-DE43-93F4-057DAEDB28DA}"/>
              </a:ext>
            </a:extLst>
          </p:cNvPr>
          <p:cNvSpPr/>
          <p:nvPr/>
        </p:nvSpPr>
        <p:spPr>
          <a:xfrm>
            <a:off x="5058283" y="2421911"/>
            <a:ext cx="1477230"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1E4471"/>
                </a:solidFill>
                <a:latin typeface="+mn-lt"/>
                <a:ea typeface="ＭＳ Ｐゴシック" charset="0"/>
              </a:rPr>
              <a:t>Too little</a:t>
            </a:r>
            <a:br>
              <a:rPr lang="en-US" sz="1600" dirty="0">
                <a:solidFill>
                  <a:srgbClr val="1E4471"/>
                </a:solidFill>
                <a:latin typeface="+mn-lt"/>
                <a:ea typeface="ＭＳ Ｐゴシック" charset="0"/>
              </a:rPr>
            </a:br>
            <a:r>
              <a:rPr lang="en-US" sz="1600" dirty="0">
                <a:solidFill>
                  <a:srgbClr val="1E4471"/>
                </a:solidFill>
                <a:latin typeface="+mn-lt"/>
                <a:ea typeface="ＭＳ Ｐゴシック" charset="0"/>
              </a:rPr>
              <a:t>visibility</a:t>
            </a:r>
          </a:p>
        </p:txBody>
      </p:sp>
      <p:sp>
        <p:nvSpPr>
          <p:cNvPr id="242" name="Rectangle 241">
            <a:extLst>
              <a:ext uri="{FF2B5EF4-FFF2-40B4-BE49-F238E27FC236}">
                <a16:creationId xmlns:a16="http://schemas.microsoft.com/office/drawing/2014/main" id="{741B96B7-44E4-3D4B-8380-131739AD0E0F}"/>
              </a:ext>
            </a:extLst>
          </p:cNvPr>
          <p:cNvSpPr/>
          <p:nvPr/>
        </p:nvSpPr>
        <p:spPr>
          <a:xfrm>
            <a:off x="7124369" y="3961691"/>
            <a:ext cx="1592694"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1E4471"/>
                </a:solidFill>
                <a:latin typeface="+mn-lt"/>
                <a:ea typeface="ＭＳ Ｐゴシック" charset="0"/>
              </a:rPr>
              <a:t>Too much</a:t>
            </a:r>
            <a:br>
              <a:rPr lang="en-US" sz="1600" dirty="0">
                <a:solidFill>
                  <a:srgbClr val="1E4471"/>
                </a:solidFill>
                <a:latin typeface="+mn-lt"/>
                <a:ea typeface="ＭＳ Ｐゴシック" charset="0"/>
              </a:rPr>
            </a:br>
            <a:r>
              <a:rPr lang="en-US" sz="1600" dirty="0">
                <a:solidFill>
                  <a:srgbClr val="1E4471"/>
                </a:solidFill>
                <a:latin typeface="+mn-lt"/>
                <a:ea typeface="ＭＳ Ｐゴシック" charset="0"/>
              </a:rPr>
              <a:t>exposure</a:t>
            </a:r>
          </a:p>
        </p:txBody>
      </p:sp>
      <p:sp>
        <p:nvSpPr>
          <p:cNvPr id="243" name="Rectangle 242">
            <a:extLst>
              <a:ext uri="{FF2B5EF4-FFF2-40B4-BE49-F238E27FC236}">
                <a16:creationId xmlns:a16="http://schemas.microsoft.com/office/drawing/2014/main" id="{E22D247C-C544-B149-9FAF-32847206572D}"/>
              </a:ext>
            </a:extLst>
          </p:cNvPr>
          <p:cNvSpPr/>
          <p:nvPr/>
        </p:nvSpPr>
        <p:spPr>
          <a:xfrm>
            <a:off x="7077379" y="2421911"/>
            <a:ext cx="1686675"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1E4471"/>
                </a:solidFill>
                <a:latin typeface="+mn-lt"/>
                <a:ea typeface="ＭＳ Ｐゴシック" charset="0"/>
              </a:rPr>
              <a:t>Too few </a:t>
            </a:r>
            <a:br>
              <a:rPr lang="en-US" sz="1600" dirty="0">
                <a:solidFill>
                  <a:srgbClr val="1E4471"/>
                </a:solidFill>
                <a:latin typeface="+mn-lt"/>
                <a:ea typeface="ＭＳ Ｐゴシック" charset="0"/>
              </a:rPr>
            </a:br>
            <a:r>
              <a:rPr lang="en-US" sz="1600" dirty="0">
                <a:solidFill>
                  <a:srgbClr val="1E4471"/>
                </a:solidFill>
                <a:latin typeface="+mn-lt"/>
                <a:ea typeface="ＭＳ Ｐゴシック" charset="0"/>
              </a:rPr>
              <a:t>experts</a:t>
            </a:r>
          </a:p>
        </p:txBody>
      </p:sp>
      <p:sp>
        <p:nvSpPr>
          <p:cNvPr id="244" name="Rectangle 243">
            <a:extLst>
              <a:ext uri="{FF2B5EF4-FFF2-40B4-BE49-F238E27FC236}">
                <a16:creationId xmlns:a16="http://schemas.microsoft.com/office/drawing/2014/main" id="{11CFBD4E-D991-D44B-93A8-DECAECB4FA76}"/>
              </a:ext>
            </a:extLst>
          </p:cNvPr>
          <p:cNvSpPr/>
          <p:nvPr/>
        </p:nvSpPr>
        <p:spPr>
          <a:xfrm>
            <a:off x="5058283" y="3961691"/>
            <a:ext cx="1477230"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1E4471"/>
                </a:solidFill>
                <a:latin typeface="+mn-lt"/>
                <a:ea typeface="ＭＳ Ｐゴシック" charset="0"/>
              </a:rPr>
              <a:t>Too little</a:t>
            </a:r>
            <a:br>
              <a:rPr lang="en-US" sz="1600" dirty="0">
                <a:solidFill>
                  <a:srgbClr val="1E4471"/>
                </a:solidFill>
                <a:latin typeface="+mn-lt"/>
                <a:ea typeface="ＭＳ Ｐゴシック" charset="0"/>
              </a:rPr>
            </a:br>
            <a:r>
              <a:rPr lang="en-US" sz="1600" dirty="0">
                <a:solidFill>
                  <a:srgbClr val="1E4471"/>
                </a:solidFill>
                <a:latin typeface="+mn-lt"/>
                <a:ea typeface="ＭＳ Ｐゴシック" charset="0"/>
              </a:rPr>
              <a:t>integration</a:t>
            </a:r>
          </a:p>
        </p:txBody>
      </p:sp>
      <p:grpSp>
        <p:nvGrpSpPr>
          <p:cNvPr id="245" name="Group 244">
            <a:extLst>
              <a:ext uri="{FF2B5EF4-FFF2-40B4-BE49-F238E27FC236}">
                <a16:creationId xmlns:a16="http://schemas.microsoft.com/office/drawing/2014/main" id="{17CDAFDA-0071-ED42-A0A1-72E3CE97F2CD}"/>
              </a:ext>
            </a:extLst>
          </p:cNvPr>
          <p:cNvGrpSpPr/>
          <p:nvPr/>
        </p:nvGrpSpPr>
        <p:grpSpPr>
          <a:xfrm>
            <a:off x="5246672" y="1695061"/>
            <a:ext cx="1100452" cy="619568"/>
            <a:chOff x="5151955" y="1356609"/>
            <a:chExt cx="1309952" cy="737521"/>
          </a:xfrm>
        </p:grpSpPr>
        <p:sp>
          <p:nvSpPr>
            <p:cNvPr id="246" name="Oval 245">
              <a:extLst>
                <a:ext uri="{FF2B5EF4-FFF2-40B4-BE49-F238E27FC236}">
                  <a16:creationId xmlns:a16="http://schemas.microsoft.com/office/drawing/2014/main" id="{E45B8A3F-9DFB-0F44-BB32-2581B459047E}"/>
                </a:ext>
              </a:extLst>
            </p:cNvPr>
            <p:cNvSpPr/>
            <p:nvPr/>
          </p:nvSpPr>
          <p:spPr>
            <a:xfrm>
              <a:off x="6234315" y="1729613"/>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47" name="Oval 246">
              <a:extLst>
                <a:ext uri="{FF2B5EF4-FFF2-40B4-BE49-F238E27FC236}">
                  <a16:creationId xmlns:a16="http://schemas.microsoft.com/office/drawing/2014/main" id="{6591D213-712E-4146-B901-5AAB2DA9C913}"/>
                </a:ext>
              </a:extLst>
            </p:cNvPr>
            <p:cNvSpPr/>
            <p:nvPr/>
          </p:nvSpPr>
          <p:spPr>
            <a:xfrm>
              <a:off x="6234315" y="1896189"/>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48" name="Oval 247">
              <a:extLst>
                <a:ext uri="{FF2B5EF4-FFF2-40B4-BE49-F238E27FC236}">
                  <a16:creationId xmlns:a16="http://schemas.microsoft.com/office/drawing/2014/main" id="{ADE55839-41DC-014E-B2BA-C626B2D1AE7D}"/>
                </a:ext>
              </a:extLst>
            </p:cNvPr>
            <p:cNvSpPr/>
            <p:nvPr/>
          </p:nvSpPr>
          <p:spPr>
            <a:xfrm>
              <a:off x="5151955" y="1504945"/>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49" name="Oval 248">
              <a:extLst>
                <a:ext uri="{FF2B5EF4-FFF2-40B4-BE49-F238E27FC236}">
                  <a16:creationId xmlns:a16="http://schemas.microsoft.com/office/drawing/2014/main" id="{0B29A0DC-7F95-E347-ACC0-F594D8008560}"/>
                </a:ext>
              </a:extLst>
            </p:cNvPr>
            <p:cNvSpPr/>
            <p:nvPr/>
          </p:nvSpPr>
          <p:spPr>
            <a:xfrm>
              <a:off x="5290768" y="1504945"/>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0" name="Oval 249">
              <a:extLst>
                <a:ext uri="{FF2B5EF4-FFF2-40B4-BE49-F238E27FC236}">
                  <a16:creationId xmlns:a16="http://schemas.microsoft.com/office/drawing/2014/main" id="{2884B284-08F3-8E46-B73C-6F616D97A2F0}"/>
                </a:ext>
              </a:extLst>
            </p:cNvPr>
            <p:cNvSpPr/>
            <p:nvPr/>
          </p:nvSpPr>
          <p:spPr>
            <a:xfrm>
              <a:off x="5429581" y="1504945"/>
              <a:ext cx="85126" cy="85126"/>
            </a:xfrm>
            <a:prstGeom prst="ellipse">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1" name="Oval 250">
              <a:extLst>
                <a:ext uri="{FF2B5EF4-FFF2-40B4-BE49-F238E27FC236}">
                  <a16:creationId xmlns:a16="http://schemas.microsoft.com/office/drawing/2014/main" id="{AB81CFB6-FEA2-E541-9A3E-EA44C9DB527A}"/>
                </a:ext>
              </a:extLst>
            </p:cNvPr>
            <p:cNvSpPr/>
            <p:nvPr/>
          </p:nvSpPr>
          <p:spPr>
            <a:xfrm>
              <a:off x="5568394" y="1504945"/>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2" name="Oval 251">
              <a:extLst>
                <a:ext uri="{FF2B5EF4-FFF2-40B4-BE49-F238E27FC236}">
                  <a16:creationId xmlns:a16="http://schemas.microsoft.com/office/drawing/2014/main" id="{6B9799EA-0802-F347-84B9-D4176D8BBA73}"/>
                </a:ext>
              </a:extLst>
            </p:cNvPr>
            <p:cNvSpPr/>
            <p:nvPr/>
          </p:nvSpPr>
          <p:spPr>
            <a:xfrm>
              <a:off x="5707207" y="1504945"/>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3" name="Oval 252">
              <a:extLst>
                <a:ext uri="{FF2B5EF4-FFF2-40B4-BE49-F238E27FC236}">
                  <a16:creationId xmlns:a16="http://schemas.microsoft.com/office/drawing/2014/main" id="{D8AFF544-F3E5-0C41-B95E-C1BDF429A22A}"/>
                </a:ext>
              </a:extLst>
            </p:cNvPr>
            <p:cNvSpPr/>
            <p:nvPr/>
          </p:nvSpPr>
          <p:spPr>
            <a:xfrm>
              <a:off x="5151955" y="1671521"/>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4" name="Oval 253">
              <a:extLst>
                <a:ext uri="{FF2B5EF4-FFF2-40B4-BE49-F238E27FC236}">
                  <a16:creationId xmlns:a16="http://schemas.microsoft.com/office/drawing/2014/main" id="{BDEB9178-165A-AC43-A61F-9C5DE81E8551}"/>
                </a:ext>
              </a:extLst>
            </p:cNvPr>
            <p:cNvSpPr/>
            <p:nvPr/>
          </p:nvSpPr>
          <p:spPr>
            <a:xfrm>
              <a:off x="5290768" y="1671521"/>
              <a:ext cx="85126" cy="85126"/>
            </a:xfrm>
            <a:prstGeom prst="ellipse">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5" name="Oval 254">
              <a:extLst>
                <a:ext uri="{FF2B5EF4-FFF2-40B4-BE49-F238E27FC236}">
                  <a16:creationId xmlns:a16="http://schemas.microsoft.com/office/drawing/2014/main" id="{8DDDFF33-FD40-A14A-B8BF-3D6FFF0E552B}"/>
                </a:ext>
              </a:extLst>
            </p:cNvPr>
            <p:cNvSpPr/>
            <p:nvPr/>
          </p:nvSpPr>
          <p:spPr>
            <a:xfrm>
              <a:off x="5429581" y="1671521"/>
              <a:ext cx="85126" cy="85126"/>
            </a:xfrm>
            <a:prstGeom prst="ellipse">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6" name="Oval 255">
              <a:extLst>
                <a:ext uri="{FF2B5EF4-FFF2-40B4-BE49-F238E27FC236}">
                  <a16:creationId xmlns:a16="http://schemas.microsoft.com/office/drawing/2014/main" id="{CADBF022-C7DB-9841-ACBF-4EB9AFAC8BC0}"/>
                </a:ext>
              </a:extLst>
            </p:cNvPr>
            <p:cNvSpPr/>
            <p:nvPr/>
          </p:nvSpPr>
          <p:spPr>
            <a:xfrm>
              <a:off x="5568394" y="1671521"/>
              <a:ext cx="85126" cy="85126"/>
            </a:xfrm>
            <a:prstGeom prst="ellipse">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7" name="Oval 256">
              <a:extLst>
                <a:ext uri="{FF2B5EF4-FFF2-40B4-BE49-F238E27FC236}">
                  <a16:creationId xmlns:a16="http://schemas.microsoft.com/office/drawing/2014/main" id="{09A0FB90-6ADA-734A-AF3B-CDE8A991752B}"/>
                </a:ext>
              </a:extLst>
            </p:cNvPr>
            <p:cNvSpPr/>
            <p:nvPr/>
          </p:nvSpPr>
          <p:spPr>
            <a:xfrm>
              <a:off x="5707207" y="1671521"/>
              <a:ext cx="85126" cy="85126"/>
            </a:xfrm>
            <a:prstGeom prst="ellipse">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258" name="Oval 257">
              <a:extLst>
                <a:ext uri="{FF2B5EF4-FFF2-40B4-BE49-F238E27FC236}">
                  <a16:creationId xmlns:a16="http://schemas.microsoft.com/office/drawing/2014/main" id="{3968A5BF-047E-A644-80B9-ECD9F9FE540F}"/>
                </a:ext>
              </a:extLst>
            </p:cNvPr>
            <p:cNvSpPr/>
            <p:nvPr/>
          </p:nvSpPr>
          <p:spPr>
            <a:xfrm>
              <a:off x="5495657" y="1386448"/>
              <a:ext cx="707682" cy="707682"/>
            </a:xfrm>
            <a:prstGeom prst="ellipse">
              <a:avLst/>
            </a:prstGeom>
            <a:noFill/>
            <a:ln w="25400" cap="flat" cmpd="sng" algn="ctr">
              <a:solidFill>
                <a:srgbClr val="FBAB18"/>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E4471"/>
                </a:solidFill>
                <a:effectLst/>
                <a:uLnTx/>
                <a:uFillTx/>
                <a:latin typeface="+mn-lt"/>
                <a:ea typeface="ＭＳ Ｐゴシック" charset="0"/>
              </a:endParaRPr>
            </a:p>
          </p:txBody>
        </p:sp>
        <p:pic>
          <p:nvPicPr>
            <p:cNvPr id="259" name="Picture 258" descr="A picture containing light&#10;&#10;Description automatically generated">
              <a:extLst>
                <a:ext uri="{FF2B5EF4-FFF2-40B4-BE49-F238E27FC236}">
                  <a16:creationId xmlns:a16="http://schemas.microsoft.com/office/drawing/2014/main" id="{E1CDA9EE-3B11-624B-A429-DEDD88FB4E4B}"/>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rot="20933630" flipH="1">
              <a:off x="5255861" y="1441049"/>
              <a:ext cx="1118836" cy="542432"/>
            </a:xfrm>
            <a:prstGeom prst="rect">
              <a:avLst/>
            </a:prstGeom>
          </p:spPr>
        </p:pic>
        <p:sp>
          <p:nvSpPr>
            <p:cNvPr id="260" name="Oval 259">
              <a:extLst>
                <a:ext uri="{FF2B5EF4-FFF2-40B4-BE49-F238E27FC236}">
                  <a16:creationId xmlns:a16="http://schemas.microsoft.com/office/drawing/2014/main" id="{BF6266FA-C5C7-E243-8E35-643C0882979B}"/>
                </a:ext>
              </a:extLst>
            </p:cNvPr>
            <p:cNvSpPr/>
            <p:nvPr/>
          </p:nvSpPr>
          <p:spPr>
            <a:xfrm>
              <a:off x="5434582" y="1356609"/>
              <a:ext cx="637782" cy="637782"/>
            </a:xfrm>
            <a:prstGeom prst="ellipse">
              <a:avLst/>
            </a:prstGeom>
            <a:solidFill>
              <a:srgbClr val="E3241B">
                <a:alpha val="6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E4471"/>
                </a:solidFill>
                <a:effectLst/>
                <a:uLnTx/>
                <a:uFillTx/>
                <a:latin typeface="+mn-lt"/>
                <a:ea typeface="ＭＳ Ｐゴシック" charset="0"/>
              </a:endParaRPr>
            </a:p>
          </p:txBody>
        </p:sp>
        <p:sp>
          <p:nvSpPr>
            <p:cNvPr id="261" name="Oval 260">
              <a:extLst>
                <a:ext uri="{FF2B5EF4-FFF2-40B4-BE49-F238E27FC236}">
                  <a16:creationId xmlns:a16="http://schemas.microsoft.com/office/drawing/2014/main" id="{4BD13210-A328-F041-B060-EEAE8BA8D4E4}"/>
                </a:ext>
              </a:extLst>
            </p:cNvPr>
            <p:cNvSpPr/>
            <p:nvPr/>
          </p:nvSpPr>
          <p:spPr>
            <a:xfrm>
              <a:off x="6376781" y="1759480"/>
              <a:ext cx="85126" cy="85126"/>
            </a:xfrm>
            <a:prstGeom prst="ellipse">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262" name="Group 261">
            <a:extLst>
              <a:ext uri="{FF2B5EF4-FFF2-40B4-BE49-F238E27FC236}">
                <a16:creationId xmlns:a16="http://schemas.microsoft.com/office/drawing/2014/main" id="{82C407E3-4126-F54A-9A63-87BDE66C8462}"/>
              </a:ext>
            </a:extLst>
          </p:cNvPr>
          <p:cNvGrpSpPr/>
          <p:nvPr/>
        </p:nvGrpSpPr>
        <p:grpSpPr>
          <a:xfrm>
            <a:off x="7561963" y="1660893"/>
            <a:ext cx="717506" cy="687904"/>
            <a:chOff x="7404022" y="1252870"/>
            <a:chExt cx="854102" cy="818865"/>
          </a:xfrm>
        </p:grpSpPr>
        <p:sp>
          <p:nvSpPr>
            <p:cNvPr id="263" name="Isosceles Triangle 49">
              <a:extLst>
                <a:ext uri="{FF2B5EF4-FFF2-40B4-BE49-F238E27FC236}">
                  <a16:creationId xmlns:a16="http://schemas.microsoft.com/office/drawing/2014/main" id="{0540E70A-3122-2C44-A302-65494AC0F674}"/>
                </a:ext>
              </a:extLst>
            </p:cNvPr>
            <p:cNvSpPr/>
            <p:nvPr/>
          </p:nvSpPr>
          <p:spPr>
            <a:xfrm rot="10800000">
              <a:off x="7410609" y="1700966"/>
              <a:ext cx="273850" cy="23884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FBAB18">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n-lt"/>
                <a:ea typeface="+mn-ea"/>
                <a:cs typeface="+mn-cs"/>
              </a:endParaRPr>
            </a:p>
          </p:txBody>
        </p:sp>
        <p:sp>
          <p:nvSpPr>
            <p:cNvPr id="264" name="Freeform: Shape 180">
              <a:extLst>
                <a:ext uri="{FF2B5EF4-FFF2-40B4-BE49-F238E27FC236}">
                  <a16:creationId xmlns:a16="http://schemas.microsoft.com/office/drawing/2014/main" id="{7EA76784-775A-C74A-80C3-EE7D8F9589D7}"/>
                </a:ext>
              </a:extLst>
            </p:cNvPr>
            <p:cNvSpPr/>
            <p:nvPr/>
          </p:nvSpPr>
          <p:spPr>
            <a:xfrm rot="16200000">
              <a:off x="7421427" y="1797541"/>
              <a:ext cx="256789" cy="291600"/>
            </a:xfrm>
            <a:custGeom>
              <a:avLst/>
              <a:gdLst>
                <a:gd name="connsiteX0" fmla="*/ 354049 w 385232"/>
                <a:gd name="connsiteY0" fmla="*/ 437454 h 437454"/>
                <a:gd name="connsiteX1" fmla="*/ 339080 w 385232"/>
                <a:gd name="connsiteY1" fmla="*/ 433569 h 437454"/>
                <a:gd name="connsiteX2" fmla="*/ 16225 w 385232"/>
                <a:gd name="connsiteY2" fmla="*/ 256940 h 437454"/>
                <a:gd name="connsiteX3" fmla="*/ 13 w 385232"/>
                <a:gd name="connsiteY3" fmla="*/ 230471 h 437454"/>
                <a:gd name="connsiteX4" fmla="*/ 14723 w 385232"/>
                <a:gd name="connsiteY4" fmla="*/ 203122 h 437454"/>
                <a:gd name="connsiteX5" fmla="*/ 334055 w 385232"/>
                <a:gd name="connsiteY5" fmla="*/ 4737 h 437454"/>
                <a:gd name="connsiteX6" fmla="*/ 365496 w 385232"/>
                <a:gd name="connsiteY6" fmla="*/ 3908 h 437454"/>
                <a:gd name="connsiteX7" fmla="*/ 381657 w 385232"/>
                <a:gd name="connsiteY7" fmla="*/ 30895 h 437454"/>
                <a:gd name="connsiteX8" fmla="*/ 385231 w 385232"/>
                <a:gd name="connsiteY8" fmla="*/ 405961 h 437454"/>
                <a:gd name="connsiteX9" fmla="*/ 370106 w 385232"/>
                <a:gd name="connsiteY9" fmla="*/ 433000 h 437454"/>
                <a:gd name="connsiteX10" fmla="*/ 354049 w 385232"/>
                <a:gd name="connsiteY10" fmla="*/ 437454 h 437454"/>
                <a:gd name="connsiteX11" fmla="*/ 350475 w 385232"/>
                <a:gd name="connsiteY11" fmla="*/ 15563 h 437454"/>
                <a:gd name="connsiteX12" fmla="*/ 342239 w 385232"/>
                <a:gd name="connsiteY12" fmla="*/ 17945 h 437454"/>
                <a:gd name="connsiteX13" fmla="*/ 22907 w 385232"/>
                <a:gd name="connsiteY13" fmla="*/ 216330 h 437454"/>
                <a:gd name="connsiteX14" fmla="*/ 15552 w 385232"/>
                <a:gd name="connsiteY14" fmla="*/ 230057 h 437454"/>
                <a:gd name="connsiteX15" fmla="*/ 23684 w 385232"/>
                <a:gd name="connsiteY15" fmla="*/ 243317 h 437454"/>
                <a:gd name="connsiteX16" fmla="*/ 346538 w 385232"/>
                <a:gd name="connsiteY16" fmla="*/ 419947 h 437454"/>
                <a:gd name="connsiteX17" fmla="*/ 362078 w 385232"/>
                <a:gd name="connsiteY17" fmla="*/ 419636 h 437454"/>
                <a:gd name="connsiteX18" fmla="*/ 369692 w 385232"/>
                <a:gd name="connsiteY18" fmla="*/ 406065 h 437454"/>
                <a:gd name="connsiteX19" fmla="*/ 366118 w 385232"/>
                <a:gd name="connsiteY19" fmla="*/ 30998 h 437454"/>
                <a:gd name="connsiteX20" fmla="*/ 358037 w 385232"/>
                <a:gd name="connsiteY20" fmla="*/ 17479 h 437454"/>
                <a:gd name="connsiteX21" fmla="*/ 350475 w 385232"/>
                <a:gd name="connsiteY21" fmla="*/ 15563 h 43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232" h="437454">
                  <a:moveTo>
                    <a:pt x="354049" y="437454"/>
                  </a:moveTo>
                  <a:cubicBezTo>
                    <a:pt x="348921" y="437454"/>
                    <a:pt x="343793" y="436159"/>
                    <a:pt x="339080" y="433569"/>
                  </a:cubicBezTo>
                  <a:lnTo>
                    <a:pt x="16225" y="256940"/>
                  </a:lnTo>
                  <a:cubicBezTo>
                    <a:pt x="6384" y="251553"/>
                    <a:pt x="323" y="241659"/>
                    <a:pt x="13" y="230471"/>
                  </a:cubicBezTo>
                  <a:cubicBezTo>
                    <a:pt x="-298" y="219283"/>
                    <a:pt x="5192" y="209079"/>
                    <a:pt x="14723" y="203122"/>
                  </a:cubicBezTo>
                  <a:lnTo>
                    <a:pt x="334055" y="4737"/>
                  </a:lnTo>
                  <a:cubicBezTo>
                    <a:pt x="343741" y="-1271"/>
                    <a:pt x="355499" y="-1582"/>
                    <a:pt x="365496" y="3908"/>
                  </a:cubicBezTo>
                  <a:cubicBezTo>
                    <a:pt x="375493" y="9399"/>
                    <a:pt x="381554" y="19499"/>
                    <a:pt x="381657" y="30895"/>
                  </a:cubicBezTo>
                  <a:lnTo>
                    <a:pt x="385231" y="405961"/>
                  </a:lnTo>
                  <a:cubicBezTo>
                    <a:pt x="385335" y="417150"/>
                    <a:pt x="379689" y="427250"/>
                    <a:pt x="370106" y="433000"/>
                  </a:cubicBezTo>
                  <a:cubicBezTo>
                    <a:pt x="365082" y="435952"/>
                    <a:pt x="359540" y="437454"/>
                    <a:pt x="354049" y="437454"/>
                  </a:cubicBezTo>
                  <a:close/>
                  <a:moveTo>
                    <a:pt x="350475" y="15563"/>
                  </a:moveTo>
                  <a:cubicBezTo>
                    <a:pt x="347626" y="15563"/>
                    <a:pt x="344777" y="16340"/>
                    <a:pt x="342239" y="17945"/>
                  </a:cubicBezTo>
                  <a:lnTo>
                    <a:pt x="22907" y="216330"/>
                  </a:lnTo>
                  <a:cubicBezTo>
                    <a:pt x="18142" y="219283"/>
                    <a:pt x="15396" y="224411"/>
                    <a:pt x="15552" y="230057"/>
                  </a:cubicBezTo>
                  <a:cubicBezTo>
                    <a:pt x="15707" y="235651"/>
                    <a:pt x="18763" y="240623"/>
                    <a:pt x="23684" y="243317"/>
                  </a:cubicBezTo>
                  <a:lnTo>
                    <a:pt x="346538" y="419947"/>
                  </a:lnTo>
                  <a:cubicBezTo>
                    <a:pt x="351459" y="422640"/>
                    <a:pt x="357260" y="422537"/>
                    <a:pt x="362078" y="419636"/>
                  </a:cubicBezTo>
                  <a:cubicBezTo>
                    <a:pt x="366895" y="416735"/>
                    <a:pt x="369744" y="411711"/>
                    <a:pt x="369692" y="406065"/>
                  </a:cubicBezTo>
                  <a:lnTo>
                    <a:pt x="366118" y="30998"/>
                  </a:lnTo>
                  <a:cubicBezTo>
                    <a:pt x="366066" y="25301"/>
                    <a:pt x="363062" y="20225"/>
                    <a:pt x="358037" y="17479"/>
                  </a:cubicBezTo>
                  <a:cubicBezTo>
                    <a:pt x="355603" y="16184"/>
                    <a:pt x="353065" y="15563"/>
                    <a:pt x="350475" y="15563"/>
                  </a:cubicBezTo>
                  <a:close/>
                </a:path>
              </a:pathLst>
            </a:custGeom>
            <a:solidFill>
              <a:srgbClr val="FBAB18"/>
            </a:solidFill>
            <a:ln w="5175" cap="flat">
              <a:solidFill>
                <a:srgbClr val="E3241B"/>
              </a:solid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nvGrpSpPr>
            <p:cNvPr id="265" name="Graphic 6">
              <a:extLst>
                <a:ext uri="{FF2B5EF4-FFF2-40B4-BE49-F238E27FC236}">
                  <a16:creationId xmlns:a16="http://schemas.microsoft.com/office/drawing/2014/main" id="{1B80C627-1378-A544-9F10-B2A3B9748428}"/>
                </a:ext>
              </a:extLst>
            </p:cNvPr>
            <p:cNvGrpSpPr/>
            <p:nvPr/>
          </p:nvGrpSpPr>
          <p:grpSpPr>
            <a:xfrm>
              <a:off x="7914728" y="1392155"/>
              <a:ext cx="343396" cy="21581"/>
              <a:chOff x="1163719" y="2982552"/>
              <a:chExt cx="926399" cy="58220"/>
            </a:xfrm>
            <a:solidFill>
              <a:srgbClr val="FBAB18"/>
            </a:solidFill>
          </p:grpSpPr>
          <p:sp>
            <p:nvSpPr>
              <p:cNvPr id="304" name="Freeform: Shape 252">
                <a:extLst>
                  <a:ext uri="{FF2B5EF4-FFF2-40B4-BE49-F238E27FC236}">
                    <a16:creationId xmlns:a16="http://schemas.microsoft.com/office/drawing/2014/main" id="{3D8DA7EE-62F5-4F43-B2FD-4BA375615740}"/>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5" name="Freeform: Shape 253">
                <a:extLst>
                  <a:ext uri="{FF2B5EF4-FFF2-40B4-BE49-F238E27FC236}">
                    <a16:creationId xmlns:a16="http://schemas.microsoft.com/office/drawing/2014/main" id="{5B44BE72-DBF7-C646-8D19-99E0A8DF3557}"/>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6" name="Freeform: Shape 254">
                <a:extLst>
                  <a:ext uri="{FF2B5EF4-FFF2-40B4-BE49-F238E27FC236}">
                    <a16:creationId xmlns:a16="http://schemas.microsoft.com/office/drawing/2014/main" id="{30BAF535-A9A7-EE4E-9043-7E7FAE5B7F0B}"/>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7" name="Freeform: Shape 255">
                <a:extLst>
                  <a:ext uri="{FF2B5EF4-FFF2-40B4-BE49-F238E27FC236}">
                    <a16:creationId xmlns:a16="http://schemas.microsoft.com/office/drawing/2014/main" id="{D94D96D6-5AB7-F745-9F64-065CE9FE9609}"/>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8" name="Freeform: Shape 256">
                <a:extLst>
                  <a:ext uri="{FF2B5EF4-FFF2-40B4-BE49-F238E27FC236}">
                    <a16:creationId xmlns:a16="http://schemas.microsoft.com/office/drawing/2014/main" id="{13354A8E-4DE4-E04B-B3D3-21F043976975}"/>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9" name="Freeform: Shape 257">
                <a:extLst>
                  <a:ext uri="{FF2B5EF4-FFF2-40B4-BE49-F238E27FC236}">
                    <a16:creationId xmlns:a16="http://schemas.microsoft.com/office/drawing/2014/main" id="{EB3283D7-E0DC-7843-B93C-4E0B071F918F}"/>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266" name="Graphic 6">
              <a:extLst>
                <a:ext uri="{FF2B5EF4-FFF2-40B4-BE49-F238E27FC236}">
                  <a16:creationId xmlns:a16="http://schemas.microsoft.com/office/drawing/2014/main" id="{AAC1B02D-2357-A84F-9F64-B03CBD1F615C}"/>
                </a:ext>
              </a:extLst>
            </p:cNvPr>
            <p:cNvGrpSpPr/>
            <p:nvPr/>
          </p:nvGrpSpPr>
          <p:grpSpPr>
            <a:xfrm>
              <a:off x="7914728" y="1458645"/>
              <a:ext cx="343396" cy="21581"/>
              <a:chOff x="1163719" y="3161927"/>
              <a:chExt cx="926399" cy="58220"/>
            </a:xfrm>
            <a:solidFill>
              <a:srgbClr val="FBAB18"/>
            </a:solidFill>
          </p:grpSpPr>
          <p:sp>
            <p:nvSpPr>
              <p:cNvPr id="298" name="Freeform: Shape 246">
                <a:extLst>
                  <a:ext uri="{FF2B5EF4-FFF2-40B4-BE49-F238E27FC236}">
                    <a16:creationId xmlns:a16="http://schemas.microsoft.com/office/drawing/2014/main" id="{1A25E566-2796-D54D-9B02-EC4B0920E0F6}"/>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9" name="Freeform: Shape 247">
                <a:extLst>
                  <a:ext uri="{FF2B5EF4-FFF2-40B4-BE49-F238E27FC236}">
                    <a16:creationId xmlns:a16="http://schemas.microsoft.com/office/drawing/2014/main" id="{27F18EEB-47AC-7847-9CDF-03636D63DE07}"/>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0" name="Freeform: Shape 248">
                <a:extLst>
                  <a:ext uri="{FF2B5EF4-FFF2-40B4-BE49-F238E27FC236}">
                    <a16:creationId xmlns:a16="http://schemas.microsoft.com/office/drawing/2014/main" id="{FA5CD368-FAA9-7F43-9360-792A3A7F29BB}"/>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1" name="Freeform: Shape 249">
                <a:extLst>
                  <a:ext uri="{FF2B5EF4-FFF2-40B4-BE49-F238E27FC236}">
                    <a16:creationId xmlns:a16="http://schemas.microsoft.com/office/drawing/2014/main" id="{958DF17D-20C2-8849-B83B-F60782C4374D}"/>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2" name="Freeform: Shape 250">
                <a:extLst>
                  <a:ext uri="{FF2B5EF4-FFF2-40B4-BE49-F238E27FC236}">
                    <a16:creationId xmlns:a16="http://schemas.microsoft.com/office/drawing/2014/main" id="{D3FB8727-DDC8-004D-B6A9-9F0BC1E78E80}"/>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303" name="Freeform: Shape 251">
                <a:extLst>
                  <a:ext uri="{FF2B5EF4-FFF2-40B4-BE49-F238E27FC236}">
                    <a16:creationId xmlns:a16="http://schemas.microsoft.com/office/drawing/2014/main" id="{BE107238-A0BE-B543-B206-C69FB1E953D9}"/>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267" name="Graphic 6">
              <a:extLst>
                <a:ext uri="{FF2B5EF4-FFF2-40B4-BE49-F238E27FC236}">
                  <a16:creationId xmlns:a16="http://schemas.microsoft.com/office/drawing/2014/main" id="{CD00443A-D5D8-824C-9CE5-E694EDFC1ECC}"/>
                </a:ext>
              </a:extLst>
            </p:cNvPr>
            <p:cNvGrpSpPr/>
            <p:nvPr/>
          </p:nvGrpSpPr>
          <p:grpSpPr>
            <a:xfrm>
              <a:off x="7914728" y="1525155"/>
              <a:ext cx="343396" cy="21581"/>
              <a:chOff x="1163719" y="3341354"/>
              <a:chExt cx="926399" cy="58220"/>
            </a:xfrm>
            <a:solidFill>
              <a:srgbClr val="FBAB18"/>
            </a:solidFill>
          </p:grpSpPr>
          <p:sp>
            <p:nvSpPr>
              <p:cNvPr id="292" name="Freeform: Shape 240">
                <a:extLst>
                  <a:ext uri="{FF2B5EF4-FFF2-40B4-BE49-F238E27FC236}">
                    <a16:creationId xmlns:a16="http://schemas.microsoft.com/office/drawing/2014/main" id="{25AF6CB6-75D6-5047-81FE-3D70849322C4}"/>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3" name="Freeform: Shape 241">
                <a:extLst>
                  <a:ext uri="{FF2B5EF4-FFF2-40B4-BE49-F238E27FC236}">
                    <a16:creationId xmlns:a16="http://schemas.microsoft.com/office/drawing/2014/main" id="{3F15E8A4-4EA6-7442-AD44-E1D8517C9D25}"/>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4" name="Freeform: Shape 242">
                <a:extLst>
                  <a:ext uri="{FF2B5EF4-FFF2-40B4-BE49-F238E27FC236}">
                    <a16:creationId xmlns:a16="http://schemas.microsoft.com/office/drawing/2014/main" id="{542380F9-92BA-9543-B39E-DA48AE3FB98A}"/>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5" name="Freeform: Shape 243">
                <a:extLst>
                  <a:ext uri="{FF2B5EF4-FFF2-40B4-BE49-F238E27FC236}">
                    <a16:creationId xmlns:a16="http://schemas.microsoft.com/office/drawing/2014/main" id="{4CB59B3F-A891-1040-8EC9-5B6C682C02A7}"/>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6" name="Freeform: Shape 244">
                <a:extLst>
                  <a:ext uri="{FF2B5EF4-FFF2-40B4-BE49-F238E27FC236}">
                    <a16:creationId xmlns:a16="http://schemas.microsoft.com/office/drawing/2014/main" id="{9976CD60-0453-B347-994E-876704BC6D24}"/>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7" name="Freeform: Shape 245">
                <a:extLst>
                  <a:ext uri="{FF2B5EF4-FFF2-40B4-BE49-F238E27FC236}">
                    <a16:creationId xmlns:a16="http://schemas.microsoft.com/office/drawing/2014/main" id="{2E1945DA-DEE5-7948-884B-4527DC6DDE1B}"/>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268" name="Graphic 6">
              <a:extLst>
                <a:ext uri="{FF2B5EF4-FFF2-40B4-BE49-F238E27FC236}">
                  <a16:creationId xmlns:a16="http://schemas.microsoft.com/office/drawing/2014/main" id="{CB84D800-4084-524B-9D07-8C6028A93A42}"/>
                </a:ext>
              </a:extLst>
            </p:cNvPr>
            <p:cNvGrpSpPr/>
            <p:nvPr/>
          </p:nvGrpSpPr>
          <p:grpSpPr>
            <a:xfrm>
              <a:off x="7914728" y="1591665"/>
              <a:ext cx="343396" cy="21581"/>
              <a:chOff x="1163719" y="3520781"/>
              <a:chExt cx="926399" cy="58220"/>
            </a:xfrm>
            <a:solidFill>
              <a:srgbClr val="FBAB18"/>
            </a:solidFill>
          </p:grpSpPr>
          <p:sp>
            <p:nvSpPr>
              <p:cNvPr id="286" name="Freeform: Shape 234">
                <a:extLst>
                  <a:ext uri="{FF2B5EF4-FFF2-40B4-BE49-F238E27FC236}">
                    <a16:creationId xmlns:a16="http://schemas.microsoft.com/office/drawing/2014/main" id="{5520F2EA-DFFC-E343-A0CB-A492773966D1}"/>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7" name="Freeform: Shape 235">
                <a:extLst>
                  <a:ext uri="{FF2B5EF4-FFF2-40B4-BE49-F238E27FC236}">
                    <a16:creationId xmlns:a16="http://schemas.microsoft.com/office/drawing/2014/main" id="{FFE80A0D-0443-4F40-A415-114A6BBA4702}"/>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8" name="Freeform: Shape 236">
                <a:extLst>
                  <a:ext uri="{FF2B5EF4-FFF2-40B4-BE49-F238E27FC236}">
                    <a16:creationId xmlns:a16="http://schemas.microsoft.com/office/drawing/2014/main" id="{555D8A48-3095-A34C-A896-E29D35DC22C1}"/>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9" name="Freeform: Shape 237">
                <a:extLst>
                  <a:ext uri="{FF2B5EF4-FFF2-40B4-BE49-F238E27FC236}">
                    <a16:creationId xmlns:a16="http://schemas.microsoft.com/office/drawing/2014/main" id="{57ED24FF-46CD-A943-9A7F-BC65C022B7F9}"/>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0" name="Freeform: Shape 238">
                <a:extLst>
                  <a:ext uri="{FF2B5EF4-FFF2-40B4-BE49-F238E27FC236}">
                    <a16:creationId xmlns:a16="http://schemas.microsoft.com/office/drawing/2014/main" id="{0E8A639E-EB80-ED4F-B788-39867E073F9C}"/>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91" name="Freeform: Shape 239">
                <a:extLst>
                  <a:ext uri="{FF2B5EF4-FFF2-40B4-BE49-F238E27FC236}">
                    <a16:creationId xmlns:a16="http://schemas.microsoft.com/office/drawing/2014/main" id="{5AA9E7FE-4F43-5D4A-8237-9AE29F2C1E66}"/>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269" name="Graphic 6">
              <a:extLst>
                <a:ext uri="{FF2B5EF4-FFF2-40B4-BE49-F238E27FC236}">
                  <a16:creationId xmlns:a16="http://schemas.microsoft.com/office/drawing/2014/main" id="{A3EF46DA-32B1-E947-9821-1F824183083D}"/>
                </a:ext>
              </a:extLst>
            </p:cNvPr>
            <p:cNvGrpSpPr/>
            <p:nvPr/>
          </p:nvGrpSpPr>
          <p:grpSpPr>
            <a:xfrm>
              <a:off x="7914728" y="1658174"/>
              <a:ext cx="343396" cy="21581"/>
              <a:chOff x="1163719" y="3700208"/>
              <a:chExt cx="926399" cy="58220"/>
            </a:xfrm>
            <a:solidFill>
              <a:srgbClr val="FBAB18"/>
            </a:solidFill>
          </p:grpSpPr>
          <p:sp>
            <p:nvSpPr>
              <p:cNvPr id="280" name="Freeform: Shape 228">
                <a:extLst>
                  <a:ext uri="{FF2B5EF4-FFF2-40B4-BE49-F238E27FC236}">
                    <a16:creationId xmlns:a16="http://schemas.microsoft.com/office/drawing/2014/main" id="{8825F267-5DEA-6D4C-BC8E-44843BBE65A0}"/>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1" name="Freeform: Shape 229">
                <a:extLst>
                  <a:ext uri="{FF2B5EF4-FFF2-40B4-BE49-F238E27FC236}">
                    <a16:creationId xmlns:a16="http://schemas.microsoft.com/office/drawing/2014/main" id="{FDB257ED-C74E-4C45-8AA9-1AB712E3FA20}"/>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2" name="Freeform: Shape 230">
                <a:extLst>
                  <a:ext uri="{FF2B5EF4-FFF2-40B4-BE49-F238E27FC236}">
                    <a16:creationId xmlns:a16="http://schemas.microsoft.com/office/drawing/2014/main" id="{CC1E34B0-0A1D-854D-B067-051CA5EB2C26}"/>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3" name="Freeform: Shape 231">
                <a:extLst>
                  <a:ext uri="{FF2B5EF4-FFF2-40B4-BE49-F238E27FC236}">
                    <a16:creationId xmlns:a16="http://schemas.microsoft.com/office/drawing/2014/main" id="{A02DAE4F-C5B6-6F4B-B59A-C82E778B756D}"/>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4" name="Freeform: Shape 232">
                <a:extLst>
                  <a:ext uri="{FF2B5EF4-FFF2-40B4-BE49-F238E27FC236}">
                    <a16:creationId xmlns:a16="http://schemas.microsoft.com/office/drawing/2014/main" id="{5A28E341-2554-C94D-98E0-32F56DD9BEF7}"/>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85" name="Freeform: Shape 233">
                <a:extLst>
                  <a:ext uri="{FF2B5EF4-FFF2-40B4-BE49-F238E27FC236}">
                    <a16:creationId xmlns:a16="http://schemas.microsoft.com/office/drawing/2014/main" id="{02D9327C-134D-5649-840B-84D127206118}"/>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270" name="Graphic 6">
              <a:extLst>
                <a:ext uri="{FF2B5EF4-FFF2-40B4-BE49-F238E27FC236}">
                  <a16:creationId xmlns:a16="http://schemas.microsoft.com/office/drawing/2014/main" id="{F10045B3-1802-164E-9D24-28B4028543F9}"/>
                </a:ext>
              </a:extLst>
            </p:cNvPr>
            <p:cNvGrpSpPr/>
            <p:nvPr/>
          </p:nvGrpSpPr>
          <p:grpSpPr>
            <a:xfrm>
              <a:off x="7914728" y="1724684"/>
              <a:ext cx="343396" cy="21581"/>
              <a:chOff x="1163719" y="3879635"/>
              <a:chExt cx="926399" cy="58220"/>
            </a:xfrm>
            <a:solidFill>
              <a:srgbClr val="FBAB18"/>
            </a:solidFill>
          </p:grpSpPr>
          <p:sp>
            <p:nvSpPr>
              <p:cNvPr id="274" name="Freeform: Shape 222">
                <a:extLst>
                  <a:ext uri="{FF2B5EF4-FFF2-40B4-BE49-F238E27FC236}">
                    <a16:creationId xmlns:a16="http://schemas.microsoft.com/office/drawing/2014/main" id="{E3EBDFC5-EB87-4540-88BE-3ED5D3207F22}"/>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75" name="Freeform: Shape 223">
                <a:extLst>
                  <a:ext uri="{FF2B5EF4-FFF2-40B4-BE49-F238E27FC236}">
                    <a16:creationId xmlns:a16="http://schemas.microsoft.com/office/drawing/2014/main" id="{8156202A-712F-2344-9E38-8A7DEE93FA78}"/>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76" name="Freeform: Shape 224">
                <a:extLst>
                  <a:ext uri="{FF2B5EF4-FFF2-40B4-BE49-F238E27FC236}">
                    <a16:creationId xmlns:a16="http://schemas.microsoft.com/office/drawing/2014/main" id="{6B169903-1E87-9D4D-8DD3-095D064B9293}"/>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77" name="Freeform: Shape 225">
                <a:extLst>
                  <a:ext uri="{FF2B5EF4-FFF2-40B4-BE49-F238E27FC236}">
                    <a16:creationId xmlns:a16="http://schemas.microsoft.com/office/drawing/2014/main" id="{9D1C603E-B2FA-524F-B1C6-A86A917EDBBA}"/>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78" name="Freeform: Shape 226">
                <a:extLst>
                  <a:ext uri="{FF2B5EF4-FFF2-40B4-BE49-F238E27FC236}">
                    <a16:creationId xmlns:a16="http://schemas.microsoft.com/office/drawing/2014/main" id="{5AA44FF0-8A3E-2045-ACB1-851E58E72422}"/>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279" name="Freeform: Shape 227">
                <a:extLst>
                  <a:ext uri="{FF2B5EF4-FFF2-40B4-BE49-F238E27FC236}">
                    <a16:creationId xmlns:a16="http://schemas.microsoft.com/office/drawing/2014/main" id="{66D2E3B2-8AC0-8243-A64C-5D552D03D74E}"/>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sp>
          <p:nvSpPr>
            <p:cNvPr id="271" name="Freeform: Shape 166">
              <a:extLst>
                <a:ext uri="{FF2B5EF4-FFF2-40B4-BE49-F238E27FC236}">
                  <a16:creationId xmlns:a16="http://schemas.microsoft.com/office/drawing/2014/main" id="{8BA3216D-E6E0-444A-9527-979B623BB3EB}"/>
                </a:ext>
              </a:extLst>
            </p:cNvPr>
            <p:cNvSpPr/>
            <p:nvPr/>
          </p:nvSpPr>
          <p:spPr>
            <a:xfrm>
              <a:off x="7449163" y="1252870"/>
              <a:ext cx="673850" cy="673850"/>
            </a:xfrm>
            <a:custGeom>
              <a:avLst/>
              <a:gdLst>
                <a:gd name="connsiteX0" fmla="*/ 1817888 w 1817887"/>
                <a:gd name="connsiteY0" fmla="*/ 908944 h 1817887"/>
                <a:gd name="connsiteX1" fmla="*/ 908944 w 1817887"/>
                <a:gd name="connsiteY1" fmla="*/ 1817888 h 1817887"/>
                <a:gd name="connsiteX2" fmla="*/ 0 w 1817887"/>
                <a:gd name="connsiteY2" fmla="*/ 908944 h 1817887"/>
                <a:gd name="connsiteX3" fmla="*/ 908944 w 1817887"/>
                <a:gd name="connsiteY3" fmla="*/ 0 h 1817887"/>
                <a:gd name="connsiteX4" fmla="*/ 1817888 w 1817887"/>
                <a:gd name="connsiteY4" fmla="*/ 908944 h 1817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887" h="1817887">
                  <a:moveTo>
                    <a:pt x="1817888" y="908944"/>
                  </a:moveTo>
                  <a:cubicBezTo>
                    <a:pt x="1817888" y="1410940"/>
                    <a:pt x="1410940" y="1817888"/>
                    <a:pt x="908944" y="1817888"/>
                  </a:cubicBezTo>
                  <a:cubicBezTo>
                    <a:pt x="406948" y="1817888"/>
                    <a:pt x="0" y="1410940"/>
                    <a:pt x="0" y="908944"/>
                  </a:cubicBezTo>
                  <a:cubicBezTo>
                    <a:pt x="0" y="406948"/>
                    <a:pt x="406948" y="0"/>
                    <a:pt x="908944" y="0"/>
                  </a:cubicBezTo>
                  <a:cubicBezTo>
                    <a:pt x="1410940" y="0"/>
                    <a:pt x="1817888" y="406948"/>
                    <a:pt x="1817888" y="908944"/>
                  </a:cubicBezTo>
                  <a:close/>
                </a:path>
              </a:pathLst>
            </a:custGeom>
            <a:solidFill>
              <a:srgbClr val="E12727">
                <a:alpha val="60000"/>
              </a:srgbClr>
            </a:solidFill>
            <a:ln w="51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pic>
          <p:nvPicPr>
            <p:cNvPr id="272" name="Picture 271">
              <a:extLst>
                <a:ext uri="{FF2B5EF4-FFF2-40B4-BE49-F238E27FC236}">
                  <a16:creationId xmlns:a16="http://schemas.microsoft.com/office/drawing/2014/main" id="{2739A804-8C6D-0049-9CAA-7A131E53DF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85784" y="1282930"/>
              <a:ext cx="639194" cy="765167"/>
            </a:xfrm>
            <a:custGeom>
              <a:avLst/>
              <a:gdLst>
                <a:gd name="connsiteX0" fmla="*/ 0 w 1724393"/>
                <a:gd name="connsiteY0" fmla="*/ 0 h 2064237"/>
                <a:gd name="connsiteX1" fmla="*/ 1724393 w 1724393"/>
                <a:gd name="connsiteY1" fmla="*/ 0 h 2064237"/>
                <a:gd name="connsiteX2" fmla="*/ 1724393 w 1724393"/>
                <a:gd name="connsiteY2" fmla="*/ 2064237 h 2064237"/>
                <a:gd name="connsiteX3" fmla="*/ 0 w 1724393"/>
                <a:gd name="connsiteY3" fmla="*/ 2064237 h 2064237"/>
              </a:gdLst>
              <a:ahLst/>
              <a:cxnLst>
                <a:cxn ang="0">
                  <a:pos x="connsiteX0" y="connsiteY0"/>
                </a:cxn>
                <a:cxn ang="0">
                  <a:pos x="connsiteX1" y="connsiteY1"/>
                </a:cxn>
                <a:cxn ang="0">
                  <a:pos x="connsiteX2" y="connsiteY2"/>
                </a:cxn>
                <a:cxn ang="0">
                  <a:pos x="connsiteX3" y="connsiteY3"/>
                </a:cxn>
              </a:cxnLst>
              <a:rect l="l" t="t" r="r" b="b"/>
              <a:pathLst>
                <a:path w="1724393" h="2064237">
                  <a:moveTo>
                    <a:pt x="0" y="0"/>
                  </a:moveTo>
                  <a:lnTo>
                    <a:pt x="1724393" y="0"/>
                  </a:lnTo>
                  <a:lnTo>
                    <a:pt x="1724393" y="2064237"/>
                  </a:lnTo>
                  <a:lnTo>
                    <a:pt x="0" y="2064237"/>
                  </a:lnTo>
                  <a:close/>
                </a:path>
              </a:pathLst>
            </a:custGeom>
          </p:spPr>
        </p:pic>
        <p:pic>
          <p:nvPicPr>
            <p:cNvPr id="273" name="Picture 272">
              <a:extLst>
                <a:ext uri="{FF2B5EF4-FFF2-40B4-BE49-F238E27FC236}">
                  <a16:creationId xmlns:a16="http://schemas.microsoft.com/office/drawing/2014/main" id="{2A2D23DB-43A9-EF4C-A373-4D427887E9BF}"/>
                </a:ext>
              </a:extLst>
            </p:cNvPr>
            <p:cNvPicPr>
              <a:picLocks noChangeAspect="1"/>
            </p:cNvPicPr>
            <p:nvPr/>
          </p:nvPicPr>
          <p:blipFill>
            <a:blip r:embed="rId5" cstate="screen">
              <a:duotone>
                <a:prstClr val="black"/>
                <a:srgbClr val="FBAB18">
                  <a:tint val="45000"/>
                  <a:satMod val="400000"/>
                </a:srgbClr>
              </a:duotone>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7585784" y="1282930"/>
              <a:ext cx="537229" cy="643791"/>
            </a:xfrm>
            <a:custGeom>
              <a:avLst/>
              <a:gdLst>
                <a:gd name="connsiteX0" fmla="*/ 166505 w 1449316"/>
                <a:gd name="connsiteY0" fmla="*/ 0 h 1736793"/>
                <a:gd name="connsiteX1" fmla="*/ 914239 w 1449316"/>
                <a:gd name="connsiteY1" fmla="*/ 0 h 1736793"/>
                <a:gd name="connsiteX2" fmla="*/ 973629 w 1449316"/>
                <a:gd name="connsiteY2" fmla="*/ 28610 h 1736793"/>
                <a:gd name="connsiteX3" fmla="*/ 1449316 w 1449316"/>
                <a:gd name="connsiteY3" fmla="*/ 827849 h 1736793"/>
                <a:gd name="connsiteX4" fmla="*/ 540372 w 1449316"/>
                <a:gd name="connsiteY4" fmla="*/ 1736793 h 1736793"/>
                <a:gd name="connsiteX5" fmla="*/ 32173 w 1449316"/>
                <a:gd name="connsiteY5" fmla="*/ 1581560 h 1736793"/>
                <a:gd name="connsiteX6" fmla="*/ 0 w 1449316"/>
                <a:gd name="connsiteY6" fmla="*/ 1555015 h 1736793"/>
                <a:gd name="connsiteX7" fmla="*/ 0 w 1449316"/>
                <a:gd name="connsiteY7" fmla="*/ 100683 h 1736793"/>
                <a:gd name="connsiteX8" fmla="*/ 32173 w 1449316"/>
                <a:gd name="connsiteY8" fmla="*/ 74138 h 1736793"/>
                <a:gd name="connsiteX9" fmla="*/ 107115 w 1449316"/>
                <a:gd name="connsiteY9" fmla="*/ 28610 h 173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316" h="1736793">
                  <a:moveTo>
                    <a:pt x="166505" y="0"/>
                  </a:moveTo>
                  <a:lnTo>
                    <a:pt x="914239" y="0"/>
                  </a:lnTo>
                  <a:lnTo>
                    <a:pt x="973629" y="28610"/>
                  </a:lnTo>
                  <a:cubicBezTo>
                    <a:pt x="1256970" y="182530"/>
                    <a:pt x="1449316" y="482727"/>
                    <a:pt x="1449316" y="827849"/>
                  </a:cubicBezTo>
                  <a:cubicBezTo>
                    <a:pt x="1449316" y="1329845"/>
                    <a:pt x="1042368" y="1736793"/>
                    <a:pt x="540372" y="1736793"/>
                  </a:cubicBezTo>
                  <a:cubicBezTo>
                    <a:pt x="352124" y="1736793"/>
                    <a:pt x="177241" y="1679566"/>
                    <a:pt x="32173" y="1581560"/>
                  </a:cubicBezTo>
                  <a:lnTo>
                    <a:pt x="0" y="1555015"/>
                  </a:lnTo>
                  <a:lnTo>
                    <a:pt x="0" y="100683"/>
                  </a:lnTo>
                  <a:lnTo>
                    <a:pt x="32173" y="74138"/>
                  </a:lnTo>
                  <a:cubicBezTo>
                    <a:pt x="56351" y="57804"/>
                    <a:pt x="81357" y="42602"/>
                    <a:pt x="107115" y="28610"/>
                  </a:cubicBezTo>
                  <a:close/>
                </a:path>
              </a:pathLst>
            </a:custGeom>
          </p:spPr>
        </p:pic>
      </p:grpSp>
      <p:sp>
        <p:nvSpPr>
          <p:cNvPr id="311" name="Rectangle 310">
            <a:extLst>
              <a:ext uri="{FF2B5EF4-FFF2-40B4-BE49-F238E27FC236}">
                <a16:creationId xmlns:a16="http://schemas.microsoft.com/office/drawing/2014/main" id="{9CFC643D-5211-594F-99EA-1AC18262EDF4}"/>
              </a:ext>
            </a:extLst>
          </p:cNvPr>
          <p:cNvSpPr/>
          <p:nvPr/>
        </p:nvSpPr>
        <p:spPr>
          <a:xfrm>
            <a:off x="2643835" y="2421911"/>
            <a:ext cx="1343419" cy="492443"/>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D274D"/>
                </a:solidFill>
                <a:effectLst/>
                <a:uLnTx/>
                <a:uFillTx/>
                <a:latin typeface="+mn-lt"/>
                <a:ea typeface="ＭＳ Ｐゴシック" charset="0"/>
              </a:rPr>
              <a:t>Transition to the cloud</a:t>
            </a:r>
          </a:p>
        </p:txBody>
      </p:sp>
      <p:grpSp>
        <p:nvGrpSpPr>
          <p:cNvPr id="312" name="Group 311">
            <a:extLst>
              <a:ext uri="{FF2B5EF4-FFF2-40B4-BE49-F238E27FC236}">
                <a16:creationId xmlns:a16="http://schemas.microsoft.com/office/drawing/2014/main" id="{9E5E65B6-4129-A145-8FE4-E2A2D4CED7F7}"/>
              </a:ext>
            </a:extLst>
          </p:cNvPr>
          <p:cNvGrpSpPr/>
          <p:nvPr/>
        </p:nvGrpSpPr>
        <p:grpSpPr>
          <a:xfrm>
            <a:off x="2836345" y="1634254"/>
            <a:ext cx="958399" cy="741182"/>
            <a:chOff x="4308781" y="5031594"/>
            <a:chExt cx="1210475" cy="936126"/>
          </a:xfrm>
        </p:grpSpPr>
        <p:sp>
          <p:nvSpPr>
            <p:cNvPr id="313" name="Isosceles Triangle 49">
              <a:extLst>
                <a:ext uri="{FF2B5EF4-FFF2-40B4-BE49-F238E27FC236}">
                  <a16:creationId xmlns:a16="http://schemas.microsoft.com/office/drawing/2014/main" id="{7DC64E03-6494-804D-9F80-7E786CA57E98}"/>
                </a:ext>
              </a:extLst>
            </p:cNvPr>
            <p:cNvSpPr/>
            <p:nvPr/>
          </p:nvSpPr>
          <p:spPr>
            <a:xfrm>
              <a:off x="4791827" y="5574409"/>
              <a:ext cx="450952" cy="393311"/>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n-lt"/>
                <a:ea typeface="+mn-ea"/>
                <a:cs typeface="+mn-cs"/>
              </a:endParaRPr>
            </a:p>
          </p:txBody>
        </p:sp>
        <p:grpSp>
          <p:nvGrpSpPr>
            <p:cNvPr id="314" name="Group 313">
              <a:extLst>
                <a:ext uri="{FF2B5EF4-FFF2-40B4-BE49-F238E27FC236}">
                  <a16:creationId xmlns:a16="http://schemas.microsoft.com/office/drawing/2014/main" id="{66E06618-C40F-0C4B-8D6F-E640A1989F63}"/>
                </a:ext>
              </a:extLst>
            </p:cNvPr>
            <p:cNvGrpSpPr/>
            <p:nvPr/>
          </p:nvGrpSpPr>
          <p:grpSpPr>
            <a:xfrm>
              <a:off x="4308781" y="5031594"/>
              <a:ext cx="1210475" cy="682716"/>
              <a:chOff x="2312809" y="3766125"/>
              <a:chExt cx="2164832" cy="1220981"/>
            </a:xfrm>
          </p:grpSpPr>
          <p:sp>
            <p:nvSpPr>
              <p:cNvPr id="316" name="Oval 315">
                <a:extLst>
                  <a:ext uri="{FF2B5EF4-FFF2-40B4-BE49-F238E27FC236}">
                    <a16:creationId xmlns:a16="http://schemas.microsoft.com/office/drawing/2014/main" id="{D9DAC97E-1C17-574E-B929-D55CA8ED71B6}"/>
                  </a:ext>
                </a:extLst>
              </p:cNvPr>
              <p:cNvSpPr/>
              <p:nvPr/>
            </p:nvSpPr>
            <p:spPr>
              <a:xfrm>
                <a:off x="2655018" y="3772101"/>
                <a:ext cx="1215005" cy="1215005"/>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grpSp>
            <p:nvGrpSpPr>
              <p:cNvPr id="317" name="Group 316">
                <a:extLst>
                  <a:ext uri="{FF2B5EF4-FFF2-40B4-BE49-F238E27FC236}">
                    <a16:creationId xmlns:a16="http://schemas.microsoft.com/office/drawing/2014/main" id="{DADD9F0E-A9DD-D942-80E6-A74472D6F6B7}"/>
                  </a:ext>
                </a:extLst>
              </p:cNvPr>
              <p:cNvGrpSpPr/>
              <p:nvPr/>
            </p:nvGrpSpPr>
            <p:grpSpPr>
              <a:xfrm>
                <a:off x="2312809" y="3766125"/>
                <a:ext cx="2164832" cy="1217718"/>
                <a:chOff x="4791704" y="720952"/>
                <a:chExt cx="4094907" cy="2303386"/>
              </a:xfrm>
            </p:grpSpPr>
            <p:pic>
              <p:nvPicPr>
                <p:cNvPr id="318" name="Picture 317" descr="A picture containing smoke, train, coming, air&#10;&#10;Description automatically generated">
                  <a:extLst>
                    <a:ext uri="{FF2B5EF4-FFF2-40B4-BE49-F238E27FC236}">
                      <a16:creationId xmlns:a16="http://schemas.microsoft.com/office/drawing/2014/main" id="{C51EB485-BEFC-024F-B6D8-4E2C245C83E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91704" y="720952"/>
                  <a:ext cx="4094907" cy="2303386"/>
                </a:xfrm>
                <a:prstGeom prst="rect">
                  <a:avLst/>
                </a:prstGeom>
              </p:spPr>
            </p:pic>
            <p:pic>
              <p:nvPicPr>
                <p:cNvPr id="319" name="Picture 318" descr="A close up of a mountain&#10;&#10;Description automatically generated">
                  <a:extLst>
                    <a:ext uri="{FF2B5EF4-FFF2-40B4-BE49-F238E27FC236}">
                      <a16:creationId xmlns:a16="http://schemas.microsoft.com/office/drawing/2014/main" id="{1AD2297D-E6E3-8E4B-BFA0-DAFD33E02154}"/>
                    </a:ext>
                  </a:extLst>
                </p:cNvPr>
                <p:cNvPicPr>
                  <a:picLocks noChangeAspect="1"/>
                </p:cNvPicPr>
                <p:nvPr/>
              </p:nvPicPr>
              <p:blipFill>
                <a:blip r:embed="rId8"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388010" y="1215538"/>
                  <a:ext cx="2889785" cy="1439858"/>
                </a:xfrm>
                <a:prstGeom prst="rect">
                  <a:avLst/>
                </a:prstGeom>
              </p:spPr>
            </p:pic>
          </p:grpSp>
        </p:grpSp>
        <p:sp>
          <p:nvSpPr>
            <p:cNvPr id="315" name="Isosceles Triangle 49">
              <a:extLst>
                <a:ext uri="{FF2B5EF4-FFF2-40B4-BE49-F238E27FC236}">
                  <a16:creationId xmlns:a16="http://schemas.microsoft.com/office/drawing/2014/main" id="{F1B1C868-7C17-D54B-8EAE-254B590BDD1F}"/>
                </a:ext>
              </a:extLst>
            </p:cNvPr>
            <p:cNvSpPr/>
            <p:nvPr/>
          </p:nvSpPr>
          <p:spPr>
            <a:xfrm>
              <a:off x="4791827" y="5406649"/>
              <a:ext cx="450952" cy="393311"/>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n-lt"/>
                <a:ea typeface="+mn-ea"/>
                <a:cs typeface="+mn-cs"/>
              </a:endParaRPr>
            </a:p>
          </p:txBody>
        </p:sp>
      </p:grpSp>
      <p:sp>
        <p:nvSpPr>
          <p:cNvPr id="321" name="Rectangle 320">
            <a:extLst>
              <a:ext uri="{FF2B5EF4-FFF2-40B4-BE49-F238E27FC236}">
                <a16:creationId xmlns:a16="http://schemas.microsoft.com/office/drawing/2014/main" id="{5DE51986-9365-2C46-B1D0-C26EAEDEF00F}"/>
              </a:ext>
            </a:extLst>
          </p:cNvPr>
          <p:cNvSpPr/>
          <p:nvPr/>
        </p:nvSpPr>
        <p:spPr>
          <a:xfrm>
            <a:off x="427393" y="2421911"/>
            <a:ext cx="1608115"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0D274D"/>
                </a:solidFill>
                <a:latin typeface="+mn-lt"/>
                <a:ea typeface="ＭＳ Ｐゴシック" charset="0"/>
              </a:rPr>
              <a:t>Pervasive devices</a:t>
            </a:r>
          </a:p>
        </p:txBody>
      </p:sp>
      <p:sp>
        <p:nvSpPr>
          <p:cNvPr id="323" name="Rectangle 322">
            <a:extLst>
              <a:ext uri="{FF2B5EF4-FFF2-40B4-BE49-F238E27FC236}">
                <a16:creationId xmlns:a16="http://schemas.microsoft.com/office/drawing/2014/main" id="{467D4C83-814B-0548-BE31-200D08F4D52F}"/>
              </a:ext>
            </a:extLst>
          </p:cNvPr>
          <p:cNvSpPr/>
          <p:nvPr/>
        </p:nvSpPr>
        <p:spPr>
          <a:xfrm>
            <a:off x="541581" y="3963672"/>
            <a:ext cx="1379738" cy="492443"/>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D274D"/>
                </a:solidFill>
                <a:effectLst/>
                <a:uLnTx/>
                <a:uFillTx/>
                <a:latin typeface="+mn-lt"/>
                <a:ea typeface="ＭＳ Ｐゴシック" charset="0"/>
              </a:rPr>
              <a:t>Distributed workforces</a:t>
            </a:r>
          </a:p>
        </p:txBody>
      </p:sp>
      <p:grpSp>
        <p:nvGrpSpPr>
          <p:cNvPr id="324" name="Group 323">
            <a:extLst>
              <a:ext uri="{FF2B5EF4-FFF2-40B4-BE49-F238E27FC236}">
                <a16:creationId xmlns:a16="http://schemas.microsoft.com/office/drawing/2014/main" id="{F8238FC2-93D7-9D43-AF9F-27B59C80EEF4}"/>
              </a:ext>
            </a:extLst>
          </p:cNvPr>
          <p:cNvGrpSpPr/>
          <p:nvPr/>
        </p:nvGrpSpPr>
        <p:grpSpPr>
          <a:xfrm>
            <a:off x="661346" y="3181518"/>
            <a:ext cx="1140208" cy="638687"/>
            <a:chOff x="9599457" y="2268160"/>
            <a:chExt cx="3794247" cy="2125345"/>
          </a:xfrm>
        </p:grpSpPr>
        <p:pic>
          <p:nvPicPr>
            <p:cNvPr id="325" name="Picture 324" descr="A close up of a fish&#10;&#10;Description automatically generated">
              <a:extLst>
                <a:ext uri="{FF2B5EF4-FFF2-40B4-BE49-F238E27FC236}">
                  <a16:creationId xmlns:a16="http://schemas.microsoft.com/office/drawing/2014/main" id="{CCE7070A-7152-FB41-8361-1F605BA892E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184927" y="3008745"/>
              <a:ext cx="2208777" cy="1140717"/>
            </a:xfrm>
            <a:prstGeom prst="rect">
              <a:avLst/>
            </a:prstGeom>
          </p:spPr>
        </p:pic>
        <p:sp>
          <p:nvSpPr>
            <p:cNvPr id="326" name="Oval 325">
              <a:extLst>
                <a:ext uri="{FF2B5EF4-FFF2-40B4-BE49-F238E27FC236}">
                  <a16:creationId xmlns:a16="http://schemas.microsoft.com/office/drawing/2014/main" id="{561DEFE1-5D33-B645-A522-0BD87C3507AF}"/>
                </a:ext>
              </a:extLst>
            </p:cNvPr>
            <p:cNvSpPr/>
            <p:nvPr/>
          </p:nvSpPr>
          <p:spPr>
            <a:xfrm>
              <a:off x="10494443" y="2444281"/>
              <a:ext cx="1908634" cy="1908637"/>
            </a:xfrm>
            <a:prstGeom prst="ellipse">
              <a:avLst/>
            </a:prstGeom>
            <a:solidFill>
              <a:srgbClr val="00BCEB">
                <a:alpha val="80000"/>
              </a:srgbClr>
            </a:solidFill>
            <a:ln w="254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nvGrpSpPr>
            <p:cNvPr id="327" name="Group 326">
              <a:extLst>
                <a:ext uri="{FF2B5EF4-FFF2-40B4-BE49-F238E27FC236}">
                  <a16:creationId xmlns:a16="http://schemas.microsoft.com/office/drawing/2014/main" id="{4D445EB1-67DD-614F-A24F-ACB80B855F9E}"/>
                </a:ext>
              </a:extLst>
            </p:cNvPr>
            <p:cNvGrpSpPr/>
            <p:nvPr/>
          </p:nvGrpSpPr>
          <p:grpSpPr>
            <a:xfrm>
              <a:off x="10027850" y="2534805"/>
              <a:ext cx="27432" cy="1054473"/>
              <a:chOff x="1509097" y="741439"/>
              <a:chExt cx="27432" cy="1054473"/>
            </a:xfrm>
            <a:solidFill>
              <a:srgbClr val="6EBE4A"/>
            </a:solidFill>
          </p:grpSpPr>
          <p:sp>
            <p:nvSpPr>
              <p:cNvPr id="378" name="Oval 377">
                <a:extLst>
                  <a:ext uri="{FF2B5EF4-FFF2-40B4-BE49-F238E27FC236}">
                    <a16:creationId xmlns:a16="http://schemas.microsoft.com/office/drawing/2014/main" id="{0F7A448C-3271-5E4B-B6EA-D8BA63CB08AB}"/>
                  </a:ext>
                </a:extLst>
              </p:cNvPr>
              <p:cNvSpPr/>
              <p:nvPr/>
            </p:nvSpPr>
            <p:spPr>
              <a:xfrm>
                <a:off x="1509097" y="741439"/>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9" name="Oval 378">
                <a:extLst>
                  <a:ext uri="{FF2B5EF4-FFF2-40B4-BE49-F238E27FC236}">
                    <a16:creationId xmlns:a16="http://schemas.microsoft.com/office/drawing/2014/main" id="{5C59574A-E771-6349-8476-5E9F8E7E6B06}"/>
                  </a:ext>
                </a:extLst>
              </p:cNvPr>
              <p:cNvSpPr/>
              <p:nvPr/>
            </p:nvSpPr>
            <p:spPr>
              <a:xfrm>
                <a:off x="1509097" y="946847"/>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80" name="Oval 379">
                <a:extLst>
                  <a:ext uri="{FF2B5EF4-FFF2-40B4-BE49-F238E27FC236}">
                    <a16:creationId xmlns:a16="http://schemas.microsoft.com/office/drawing/2014/main" id="{78696342-EA90-B04F-B27E-945B9741E884}"/>
                  </a:ext>
                </a:extLst>
              </p:cNvPr>
              <p:cNvSpPr/>
              <p:nvPr/>
            </p:nvSpPr>
            <p:spPr>
              <a:xfrm>
                <a:off x="1509097" y="1152255"/>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81" name="Oval 380">
                <a:extLst>
                  <a:ext uri="{FF2B5EF4-FFF2-40B4-BE49-F238E27FC236}">
                    <a16:creationId xmlns:a16="http://schemas.microsoft.com/office/drawing/2014/main" id="{BC616953-148B-3D46-8879-758104412B7C}"/>
                  </a:ext>
                </a:extLst>
              </p:cNvPr>
              <p:cNvSpPr/>
              <p:nvPr/>
            </p:nvSpPr>
            <p:spPr>
              <a:xfrm>
                <a:off x="1509097" y="1357663"/>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82" name="Oval 381">
                <a:extLst>
                  <a:ext uri="{FF2B5EF4-FFF2-40B4-BE49-F238E27FC236}">
                    <a16:creationId xmlns:a16="http://schemas.microsoft.com/office/drawing/2014/main" id="{7036A9D5-897E-E34E-B8E2-D588CB1247C3}"/>
                  </a:ext>
                </a:extLst>
              </p:cNvPr>
              <p:cNvSpPr/>
              <p:nvPr/>
            </p:nvSpPr>
            <p:spPr>
              <a:xfrm>
                <a:off x="1509097" y="1563071"/>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83" name="Oval 382">
                <a:extLst>
                  <a:ext uri="{FF2B5EF4-FFF2-40B4-BE49-F238E27FC236}">
                    <a16:creationId xmlns:a16="http://schemas.microsoft.com/office/drawing/2014/main" id="{62A2187B-29BE-434F-B722-DCA2ED21857E}"/>
                  </a:ext>
                </a:extLst>
              </p:cNvPr>
              <p:cNvSpPr/>
              <p:nvPr/>
            </p:nvSpPr>
            <p:spPr>
              <a:xfrm>
                <a:off x="1509097" y="1768480"/>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28" name="Group 327">
              <a:extLst>
                <a:ext uri="{FF2B5EF4-FFF2-40B4-BE49-F238E27FC236}">
                  <a16:creationId xmlns:a16="http://schemas.microsoft.com/office/drawing/2014/main" id="{D8A48B12-445F-F044-A398-636BA416943C}"/>
                </a:ext>
              </a:extLst>
            </p:cNvPr>
            <p:cNvGrpSpPr/>
            <p:nvPr/>
          </p:nvGrpSpPr>
          <p:grpSpPr>
            <a:xfrm>
              <a:off x="10241443" y="2534805"/>
              <a:ext cx="27432" cy="1054473"/>
              <a:chOff x="1725168" y="741439"/>
              <a:chExt cx="27432" cy="1054473"/>
            </a:xfrm>
            <a:solidFill>
              <a:srgbClr val="6EBE4A"/>
            </a:solidFill>
          </p:grpSpPr>
          <p:sp>
            <p:nvSpPr>
              <p:cNvPr id="372" name="Oval 371">
                <a:extLst>
                  <a:ext uri="{FF2B5EF4-FFF2-40B4-BE49-F238E27FC236}">
                    <a16:creationId xmlns:a16="http://schemas.microsoft.com/office/drawing/2014/main" id="{68432303-9F91-4447-A3FE-C1723E6DC900}"/>
                  </a:ext>
                </a:extLst>
              </p:cNvPr>
              <p:cNvSpPr/>
              <p:nvPr/>
            </p:nvSpPr>
            <p:spPr>
              <a:xfrm>
                <a:off x="1725168" y="741439"/>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3" name="Oval 372">
                <a:extLst>
                  <a:ext uri="{FF2B5EF4-FFF2-40B4-BE49-F238E27FC236}">
                    <a16:creationId xmlns:a16="http://schemas.microsoft.com/office/drawing/2014/main" id="{75C5B7AB-7951-5249-8697-75A10920EC6D}"/>
                  </a:ext>
                </a:extLst>
              </p:cNvPr>
              <p:cNvSpPr/>
              <p:nvPr/>
            </p:nvSpPr>
            <p:spPr>
              <a:xfrm>
                <a:off x="1725168" y="946847"/>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4" name="Oval 373">
                <a:extLst>
                  <a:ext uri="{FF2B5EF4-FFF2-40B4-BE49-F238E27FC236}">
                    <a16:creationId xmlns:a16="http://schemas.microsoft.com/office/drawing/2014/main" id="{8FAA5A04-7798-AA4C-82AC-D4969CE0B742}"/>
                  </a:ext>
                </a:extLst>
              </p:cNvPr>
              <p:cNvSpPr/>
              <p:nvPr/>
            </p:nvSpPr>
            <p:spPr>
              <a:xfrm>
                <a:off x="1725168" y="1152255"/>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5" name="Oval 374">
                <a:extLst>
                  <a:ext uri="{FF2B5EF4-FFF2-40B4-BE49-F238E27FC236}">
                    <a16:creationId xmlns:a16="http://schemas.microsoft.com/office/drawing/2014/main" id="{0B2BC334-638C-DF47-A24F-57F9FF02C8EE}"/>
                  </a:ext>
                </a:extLst>
              </p:cNvPr>
              <p:cNvSpPr/>
              <p:nvPr/>
            </p:nvSpPr>
            <p:spPr>
              <a:xfrm>
                <a:off x="1725168" y="1357663"/>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6" name="Oval 375">
                <a:extLst>
                  <a:ext uri="{FF2B5EF4-FFF2-40B4-BE49-F238E27FC236}">
                    <a16:creationId xmlns:a16="http://schemas.microsoft.com/office/drawing/2014/main" id="{4D4209E5-5DF8-204F-A578-E12573100A3D}"/>
                  </a:ext>
                </a:extLst>
              </p:cNvPr>
              <p:cNvSpPr/>
              <p:nvPr/>
            </p:nvSpPr>
            <p:spPr>
              <a:xfrm>
                <a:off x="1725168" y="1563071"/>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7" name="Oval 376">
                <a:extLst>
                  <a:ext uri="{FF2B5EF4-FFF2-40B4-BE49-F238E27FC236}">
                    <a16:creationId xmlns:a16="http://schemas.microsoft.com/office/drawing/2014/main" id="{A22DA323-1C1C-854C-AA98-344F65397EA7}"/>
                  </a:ext>
                </a:extLst>
              </p:cNvPr>
              <p:cNvSpPr/>
              <p:nvPr/>
            </p:nvSpPr>
            <p:spPr>
              <a:xfrm>
                <a:off x="1725168" y="1768480"/>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29" name="Group 328">
              <a:extLst>
                <a:ext uri="{FF2B5EF4-FFF2-40B4-BE49-F238E27FC236}">
                  <a16:creationId xmlns:a16="http://schemas.microsoft.com/office/drawing/2014/main" id="{B9BA3CFC-75FC-C84D-9F27-AFDB0D30BA01}"/>
                </a:ext>
              </a:extLst>
            </p:cNvPr>
            <p:cNvGrpSpPr/>
            <p:nvPr/>
          </p:nvGrpSpPr>
          <p:grpSpPr>
            <a:xfrm>
              <a:off x="10455036" y="2534805"/>
              <a:ext cx="27432" cy="1054473"/>
              <a:chOff x="1509097" y="741439"/>
              <a:chExt cx="27432" cy="1054473"/>
            </a:xfrm>
            <a:solidFill>
              <a:srgbClr val="6EBE4A"/>
            </a:solidFill>
          </p:grpSpPr>
          <p:sp>
            <p:nvSpPr>
              <p:cNvPr id="366" name="Oval 365">
                <a:extLst>
                  <a:ext uri="{FF2B5EF4-FFF2-40B4-BE49-F238E27FC236}">
                    <a16:creationId xmlns:a16="http://schemas.microsoft.com/office/drawing/2014/main" id="{008BCFA0-884A-3946-B0B9-188711E601EC}"/>
                  </a:ext>
                </a:extLst>
              </p:cNvPr>
              <p:cNvSpPr/>
              <p:nvPr/>
            </p:nvSpPr>
            <p:spPr>
              <a:xfrm>
                <a:off x="1509097" y="741439"/>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7" name="Oval 366">
                <a:extLst>
                  <a:ext uri="{FF2B5EF4-FFF2-40B4-BE49-F238E27FC236}">
                    <a16:creationId xmlns:a16="http://schemas.microsoft.com/office/drawing/2014/main" id="{D7819A0C-B4C1-5C4B-AFC5-39E9BA1A76DF}"/>
                  </a:ext>
                </a:extLst>
              </p:cNvPr>
              <p:cNvSpPr/>
              <p:nvPr/>
            </p:nvSpPr>
            <p:spPr>
              <a:xfrm>
                <a:off x="1509097" y="946847"/>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8" name="Oval 367">
                <a:extLst>
                  <a:ext uri="{FF2B5EF4-FFF2-40B4-BE49-F238E27FC236}">
                    <a16:creationId xmlns:a16="http://schemas.microsoft.com/office/drawing/2014/main" id="{B27866CC-C7FF-4348-93FD-3C580279BEAF}"/>
                  </a:ext>
                </a:extLst>
              </p:cNvPr>
              <p:cNvSpPr/>
              <p:nvPr/>
            </p:nvSpPr>
            <p:spPr>
              <a:xfrm>
                <a:off x="1509097" y="1152255"/>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9" name="Oval 368">
                <a:extLst>
                  <a:ext uri="{FF2B5EF4-FFF2-40B4-BE49-F238E27FC236}">
                    <a16:creationId xmlns:a16="http://schemas.microsoft.com/office/drawing/2014/main" id="{885D7175-9B21-3D49-960A-7034BBF027CB}"/>
                  </a:ext>
                </a:extLst>
              </p:cNvPr>
              <p:cNvSpPr/>
              <p:nvPr/>
            </p:nvSpPr>
            <p:spPr>
              <a:xfrm>
                <a:off x="1509097" y="1357663"/>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0" name="Oval 369">
                <a:extLst>
                  <a:ext uri="{FF2B5EF4-FFF2-40B4-BE49-F238E27FC236}">
                    <a16:creationId xmlns:a16="http://schemas.microsoft.com/office/drawing/2014/main" id="{7AC1B62B-4BA8-FE4C-A852-17F6BC70C600}"/>
                  </a:ext>
                </a:extLst>
              </p:cNvPr>
              <p:cNvSpPr/>
              <p:nvPr/>
            </p:nvSpPr>
            <p:spPr>
              <a:xfrm>
                <a:off x="1509097" y="1563071"/>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71" name="Oval 370">
                <a:extLst>
                  <a:ext uri="{FF2B5EF4-FFF2-40B4-BE49-F238E27FC236}">
                    <a16:creationId xmlns:a16="http://schemas.microsoft.com/office/drawing/2014/main" id="{63C88FB4-CCAA-7447-8BA4-B02B2A3AC712}"/>
                  </a:ext>
                </a:extLst>
              </p:cNvPr>
              <p:cNvSpPr/>
              <p:nvPr/>
            </p:nvSpPr>
            <p:spPr>
              <a:xfrm>
                <a:off x="1509097" y="1768480"/>
                <a:ext cx="27432" cy="27432"/>
              </a:xfrm>
              <a:prstGeom prst="ellipse">
                <a:avLst/>
              </a:prstGeom>
              <a:grp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30" name="Group 329">
              <a:extLst>
                <a:ext uri="{FF2B5EF4-FFF2-40B4-BE49-F238E27FC236}">
                  <a16:creationId xmlns:a16="http://schemas.microsoft.com/office/drawing/2014/main" id="{B681E863-2BFB-7C46-98D5-F57843D748BD}"/>
                </a:ext>
              </a:extLst>
            </p:cNvPr>
            <p:cNvGrpSpPr/>
            <p:nvPr/>
          </p:nvGrpSpPr>
          <p:grpSpPr>
            <a:xfrm>
              <a:off x="10668629" y="2534805"/>
              <a:ext cx="27432" cy="1054473"/>
              <a:chOff x="1509097" y="741439"/>
              <a:chExt cx="27432" cy="1054473"/>
            </a:xfrm>
          </p:grpSpPr>
          <p:sp>
            <p:nvSpPr>
              <p:cNvPr id="360" name="Oval 359">
                <a:extLst>
                  <a:ext uri="{FF2B5EF4-FFF2-40B4-BE49-F238E27FC236}">
                    <a16:creationId xmlns:a16="http://schemas.microsoft.com/office/drawing/2014/main" id="{916F4773-AAF8-2E4C-9131-3490B52CF0B6}"/>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1" name="Oval 360">
                <a:extLst>
                  <a:ext uri="{FF2B5EF4-FFF2-40B4-BE49-F238E27FC236}">
                    <a16:creationId xmlns:a16="http://schemas.microsoft.com/office/drawing/2014/main" id="{AE857B40-00CC-7948-9759-859409771660}"/>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2" name="Oval 361">
                <a:extLst>
                  <a:ext uri="{FF2B5EF4-FFF2-40B4-BE49-F238E27FC236}">
                    <a16:creationId xmlns:a16="http://schemas.microsoft.com/office/drawing/2014/main" id="{F8180970-FE23-A040-B59B-00F5BB8FAB90}"/>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3" name="Oval 362">
                <a:extLst>
                  <a:ext uri="{FF2B5EF4-FFF2-40B4-BE49-F238E27FC236}">
                    <a16:creationId xmlns:a16="http://schemas.microsoft.com/office/drawing/2014/main" id="{EC839506-D1AC-4F47-96F5-793E56F11101}"/>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4" name="Oval 363">
                <a:extLst>
                  <a:ext uri="{FF2B5EF4-FFF2-40B4-BE49-F238E27FC236}">
                    <a16:creationId xmlns:a16="http://schemas.microsoft.com/office/drawing/2014/main" id="{B5E9CE1A-5BE0-6A47-9184-A7903506DEB2}"/>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65" name="Oval 364">
                <a:extLst>
                  <a:ext uri="{FF2B5EF4-FFF2-40B4-BE49-F238E27FC236}">
                    <a16:creationId xmlns:a16="http://schemas.microsoft.com/office/drawing/2014/main" id="{7FF7958F-38D4-0E4A-9779-31D01BD2C238}"/>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31" name="Group 330">
              <a:extLst>
                <a:ext uri="{FF2B5EF4-FFF2-40B4-BE49-F238E27FC236}">
                  <a16:creationId xmlns:a16="http://schemas.microsoft.com/office/drawing/2014/main" id="{43F3C221-D6DB-494B-A1D2-C43275C54CF0}"/>
                </a:ext>
              </a:extLst>
            </p:cNvPr>
            <p:cNvGrpSpPr/>
            <p:nvPr/>
          </p:nvGrpSpPr>
          <p:grpSpPr>
            <a:xfrm>
              <a:off x="10882222" y="2534805"/>
              <a:ext cx="27432" cy="1054473"/>
              <a:chOff x="1509097" y="741439"/>
              <a:chExt cx="27432" cy="1054473"/>
            </a:xfrm>
          </p:grpSpPr>
          <p:sp>
            <p:nvSpPr>
              <p:cNvPr id="354" name="Oval 353">
                <a:extLst>
                  <a:ext uri="{FF2B5EF4-FFF2-40B4-BE49-F238E27FC236}">
                    <a16:creationId xmlns:a16="http://schemas.microsoft.com/office/drawing/2014/main" id="{897220C0-4DB4-504F-B63F-B3C13DF096A7}"/>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5" name="Oval 354">
                <a:extLst>
                  <a:ext uri="{FF2B5EF4-FFF2-40B4-BE49-F238E27FC236}">
                    <a16:creationId xmlns:a16="http://schemas.microsoft.com/office/drawing/2014/main" id="{FE120408-0851-084B-ACD7-E2169A5944DE}"/>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6" name="Oval 355">
                <a:extLst>
                  <a:ext uri="{FF2B5EF4-FFF2-40B4-BE49-F238E27FC236}">
                    <a16:creationId xmlns:a16="http://schemas.microsoft.com/office/drawing/2014/main" id="{848FFE9B-755B-6342-8F8F-AE18C293C983}"/>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7" name="Oval 356">
                <a:extLst>
                  <a:ext uri="{FF2B5EF4-FFF2-40B4-BE49-F238E27FC236}">
                    <a16:creationId xmlns:a16="http://schemas.microsoft.com/office/drawing/2014/main" id="{D5D1AAD9-8D55-9649-90BB-835194070434}"/>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8" name="Oval 357">
                <a:extLst>
                  <a:ext uri="{FF2B5EF4-FFF2-40B4-BE49-F238E27FC236}">
                    <a16:creationId xmlns:a16="http://schemas.microsoft.com/office/drawing/2014/main" id="{61084C60-E154-DB41-8DE8-A1CCDDE898DE}"/>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9" name="Oval 358">
                <a:extLst>
                  <a:ext uri="{FF2B5EF4-FFF2-40B4-BE49-F238E27FC236}">
                    <a16:creationId xmlns:a16="http://schemas.microsoft.com/office/drawing/2014/main" id="{73EAB59C-8469-5A44-AE59-AA472F0F9753}"/>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32" name="Group 331">
              <a:extLst>
                <a:ext uri="{FF2B5EF4-FFF2-40B4-BE49-F238E27FC236}">
                  <a16:creationId xmlns:a16="http://schemas.microsoft.com/office/drawing/2014/main" id="{BB10D857-967E-9A47-A90C-E56FFB40F40B}"/>
                </a:ext>
              </a:extLst>
            </p:cNvPr>
            <p:cNvGrpSpPr/>
            <p:nvPr/>
          </p:nvGrpSpPr>
          <p:grpSpPr>
            <a:xfrm>
              <a:off x="11095815" y="2534805"/>
              <a:ext cx="27432" cy="1054473"/>
              <a:chOff x="1509097" y="741439"/>
              <a:chExt cx="27432" cy="1054473"/>
            </a:xfrm>
          </p:grpSpPr>
          <p:sp>
            <p:nvSpPr>
              <p:cNvPr id="348" name="Oval 347">
                <a:extLst>
                  <a:ext uri="{FF2B5EF4-FFF2-40B4-BE49-F238E27FC236}">
                    <a16:creationId xmlns:a16="http://schemas.microsoft.com/office/drawing/2014/main" id="{93DE04AF-7F46-C842-8899-E359617A4156}"/>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9" name="Oval 348">
                <a:extLst>
                  <a:ext uri="{FF2B5EF4-FFF2-40B4-BE49-F238E27FC236}">
                    <a16:creationId xmlns:a16="http://schemas.microsoft.com/office/drawing/2014/main" id="{AD6A99BB-87D9-F74D-BADA-DE08D476E51F}"/>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0" name="Oval 349">
                <a:extLst>
                  <a:ext uri="{FF2B5EF4-FFF2-40B4-BE49-F238E27FC236}">
                    <a16:creationId xmlns:a16="http://schemas.microsoft.com/office/drawing/2014/main" id="{B96CDE63-11E2-0444-8531-27F08F98D7AC}"/>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1" name="Oval 350">
                <a:extLst>
                  <a:ext uri="{FF2B5EF4-FFF2-40B4-BE49-F238E27FC236}">
                    <a16:creationId xmlns:a16="http://schemas.microsoft.com/office/drawing/2014/main" id="{802FC4CB-DCC5-B648-992C-AE6CAD16F98F}"/>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2" name="Oval 351">
                <a:extLst>
                  <a:ext uri="{FF2B5EF4-FFF2-40B4-BE49-F238E27FC236}">
                    <a16:creationId xmlns:a16="http://schemas.microsoft.com/office/drawing/2014/main" id="{4EE89405-5AF6-C340-849B-85D809BDA6F1}"/>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53" name="Oval 352">
                <a:extLst>
                  <a:ext uri="{FF2B5EF4-FFF2-40B4-BE49-F238E27FC236}">
                    <a16:creationId xmlns:a16="http://schemas.microsoft.com/office/drawing/2014/main" id="{FEB804E2-D224-1746-93BB-39BB5994E815}"/>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33" name="Group 332">
              <a:extLst>
                <a:ext uri="{FF2B5EF4-FFF2-40B4-BE49-F238E27FC236}">
                  <a16:creationId xmlns:a16="http://schemas.microsoft.com/office/drawing/2014/main" id="{44960F45-76F4-D945-ACDF-5294D3A065FB}"/>
                </a:ext>
              </a:extLst>
            </p:cNvPr>
            <p:cNvGrpSpPr/>
            <p:nvPr/>
          </p:nvGrpSpPr>
          <p:grpSpPr>
            <a:xfrm>
              <a:off x="11309410" y="2534805"/>
              <a:ext cx="27432" cy="1054473"/>
              <a:chOff x="1509097" y="741439"/>
              <a:chExt cx="27432" cy="1054473"/>
            </a:xfrm>
          </p:grpSpPr>
          <p:sp>
            <p:nvSpPr>
              <p:cNvPr id="342" name="Oval 341">
                <a:extLst>
                  <a:ext uri="{FF2B5EF4-FFF2-40B4-BE49-F238E27FC236}">
                    <a16:creationId xmlns:a16="http://schemas.microsoft.com/office/drawing/2014/main" id="{51AC13B6-6F93-AC40-A004-66A59B6FA315}"/>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3" name="Oval 342">
                <a:extLst>
                  <a:ext uri="{FF2B5EF4-FFF2-40B4-BE49-F238E27FC236}">
                    <a16:creationId xmlns:a16="http://schemas.microsoft.com/office/drawing/2014/main" id="{4BE064A4-2D66-1D4D-9687-9163BDAD8A53}"/>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4" name="Oval 343">
                <a:extLst>
                  <a:ext uri="{FF2B5EF4-FFF2-40B4-BE49-F238E27FC236}">
                    <a16:creationId xmlns:a16="http://schemas.microsoft.com/office/drawing/2014/main" id="{BF3E2BB3-BA1F-F54F-8343-66D78C63B0A9}"/>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5" name="Oval 344">
                <a:extLst>
                  <a:ext uri="{FF2B5EF4-FFF2-40B4-BE49-F238E27FC236}">
                    <a16:creationId xmlns:a16="http://schemas.microsoft.com/office/drawing/2014/main" id="{598EBBEC-0C66-D94D-9EE8-5F0EB67AA5EF}"/>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6" name="Oval 345">
                <a:extLst>
                  <a:ext uri="{FF2B5EF4-FFF2-40B4-BE49-F238E27FC236}">
                    <a16:creationId xmlns:a16="http://schemas.microsoft.com/office/drawing/2014/main" id="{721419E3-3F4A-0048-AC3B-EC7AB212C319}"/>
                  </a:ext>
                </a:extLst>
              </p:cNvPr>
              <p:cNvSpPr/>
              <p:nvPr/>
            </p:nvSpPr>
            <p:spPr>
              <a:xfrm>
                <a:off x="1509097" y="1563071"/>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7" name="Oval 346">
                <a:extLst>
                  <a:ext uri="{FF2B5EF4-FFF2-40B4-BE49-F238E27FC236}">
                    <a16:creationId xmlns:a16="http://schemas.microsoft.com/office/drawing/2014/main" id="{1F49E07F-1F38-CB49-A9CD-4DC4CDFD1F2A}"/>
                  </a:ext>
                </a:extLst>
              </p:cNvPr>
              <p:cNvSpPr/>
              <p:nvPr/>
            </p:nvSpPr>
            <p:spPr>
              <a:xfrm>
                <a:off x="1509097" y="1768480"/>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grpSp>
          <p:nvGrpSpPr>
            <p:cNvPr id="334" name="Group 333">
              <a:extLst>
                <a:ext uri="{FF2B5EF4-FFF2-40B4-BE49-F238E27FC236}">
                  <a16:creationId xmlns:a16="http://schemas.microsoft.com/office/drawing/2014/main" id="{51344B40-1AB4-E04E-A904-53D503A1F8B9}"/>
                </a:ext>
              </a:extLst>
            </p:cNvPr>
            <p:cNvGrpSpPr/>
            <p:nvPr/>
          </p:nvGrpSpPr>
          <p:grpSpPr>
            <a:xfrm>
              <a:off x="11938708" y="2580525"/>
              <a:ext cx="27432" cy="643656"/>
              <a:chOff x="1509097" y="741439"/>
              <a:chExt cx="27432" cy="643656"/>
            </a:xfrm>
          </p:grpSpPr>
          <p:sp>
            <p:nvSpPr>
              <p:cNvPr id="338" name="Oval 337">
                <a:extLst>
                  <a:ext uri="{FF2B5EF4-FFF2-40B4-BE49-F238E27FC236}">
                    <a16:creationId xmlns:a16="http://schemas.microsoft.com/office/drawing/2014/main" id="{230FBFF3-A404-7743-9209-1E5C1529B59D}"/>
                  </a:ext>
                </a:extLst>
              </p:cNvPr>
              <p:cNvSpPr/>
              <p:nvPr/>
            </p:nvSpPr>
            <p:spPr>
              <a:xfrm>
                <a:off x="1509097" y="741439"/>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39" name="Oval 338">
                <a:extLst>
                  <a:ext uri="{FF2B5EF4-FFF2-40B4-BE49-F238E27FC236}">
                    <a16:creationId xmlns:a16="http://schemas.microsoft.com/office/drawing/2014/main" id="{9913902E-F544-CE46-99BA-9B00BDA594D5}"/>
                  </a:ext>
                </a:extLst>
              </p:cNvPr>
              <p:cNvSpPr/>
              <p:nvPr/>
            </p:nvSpPr>
            <p:spPr>
              <a:xfrm>
                <a:off x="1509097" y="946847"/>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0" name="Oval 339">
                <a:extLst>
                  <a:ext uri="{FF2B5EF4-FFF2-40B4-BE49-F238E27FC236}">
                    <a16:creationId xmlns:a16="http://schemas.microsoft.com/office/drawing/2014/main" id="{339879E1-CA44-0147-B28F-7CF8311E5076}"/>
                  </a:ext>
                </a:extLst>
              </p:cNvPr>
              <p:cNvSpPr/>
              <p:nvPr/>
            </p:nvSpPr>
            <p:spPr>
              <a:xfrm>
                <a:off x="1509097" y="1152255"/>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341" name="Oval 340">
                <a:extLst>
                  <a:ext uri="{FF2B5EF4-FFF2-40B4-BE49-F238E27FC236}">
                    <a16:creationId xmlns:a16="http://schemas.microsoft.com/office/drawing/2014/main" id="{7541DC2D-BDD1-8446-86D5-672088B66A25}"/>
                  </a:ext>
                </a:extLst>
              </p:cNvPr>
              <p:cNvSpPr/>
              <p:nvPr/>
            </p:nvSpPr>
            <p:spPr>
              <a:xfrm>
                <a:off x="1509097" y="1357663"/>
                <a:ext cx="27432" cy="27432"/>
              </a:xfrm>
              <a:prstGeom prst="ellipse">
                <a:avLst/>
              </a:prstGeom>
              <a:solidFill>
                <a:srgbClr val="FFFFFF">
                  <a:lumMod val="85000"/>
                </a:srgbClr>
              </a:solidFill>
              <a:ln w="127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grpSp>
        <p:sp>
          <p:nvSpPr>
            <p:cNvPr id="335" name="Isosceles Triangle 22">
              <a:extLst>
                <a:ext uri="{FF2B5EF4-FFF2-40B4-BE49-F238E27FC236}">
                  <a16:creationId xmlns:a16="http://schemas.microsoft.com/office/drawing/2014/main" id="{1D9F7FD1-3833-C847-A567-81052C0DF1EF}"/>
                </a:ext>
              </a:extLst>
            </p:cNvPr>
            <p:cNvSpPr/>
            <p:nvPr/>
          </p:nvSpPr>
          <p:spPr>
            <a:xfrm rot="16200000">
              <a:off x="10255281" y="3512816"/>
              <a:ext cx="580031" cy="527530"/>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rgbClr val="6EBE4A">
                <a:alpha val="8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pic>
          <p:nvPicPr>
            <p:cNvPr id="336" name="Picture 335" descr="A close up of a fish&#10;&#10;Description automatically generated">
              <a:extLst>
                <a:ext uri="{FF2B5EF4-FFF2-40B4-BE49-F238E27FC236}">
                  <a16:creationId xmlns:a16="http://schemas.microsoft.com/office/drawing/2014/main" id="{191F77D5-2BE2-5F48-A388-0E5D12FEBC4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599457" y="2268160"/>
              <a:ext cx="2515596" cy="1337493"/>
            </a:xfrm>
            <a:prstGeom prst="rect">
              <a:avLst/>
            </a:prstGeom>
          </p:spPr>
        </p:pic>
        <p:pic>
          <p:nvPicPr>
            <p:cNvPr id="337" name="Picture 336" descr="A picture containing tableware, spoon, fish&#10;&#10;Description automatically generated">
              <a:extLst>
                <a:ext uri="{FF2B5EF4-FFF2-40B4-BE49-F238E27FC236}">
                  <a16:creationId xmlns:a16="http://schemas.microsoft.com/office/drawing/2014/main" id="{2A08BB30-95A8-AD45-BF2C-4F48CA91501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02273" y="3788454"/>
              <a:ext cx="2000227" cy="605051"/>
            </a:xfrm>
            <a:prstGeom prst="rect">
              <a:avLst/>
            </a:prstGeom>
          </p:spPr>
        </p:pic>
      </p:grpSp>
      <p:sp>
        <p:nvSpPr>
          <p:cNvPr id="384" name="Rectangle 383">
            <a:extLst>
              <a:ext uri="{FF2B5EF4-FFF2-40B4-BE49-F238E27FC236}">
                <a16:creationId xmlns:a16="http://schemas.microsoft.com/office/drawing/2014/main" id="{3C66C20D-8EFE-B84A-A283-EB21D5CACCD3}"/>
              </a:ext>
            </a:extLst>
          </p:cNvPr>
          <p:cNvSpPr/>
          <p:nvPr/>
        </p:nvSpPr>
        <p:spPr>
          <a:xfrm>
            <a:off x="2555577" y="3963672"/>
            <a:ext cx="1519934" cy="492443"/>
          </a:xfrm>
          <a:prstGeom prst="rect">
            <a:avLst/>
          </a:prstGeom>
          <a:noFill/>
          <a:ln w="25400" cap="flat" cmpd="sng" algn="ctr">
            <a:noFill/>
            <a:prstDash val="solid"/>
          </a:ln>
          <a:effectLst/>
        </p:spPr>
        <p:txBody>
          <a:bodyPr wrap="square" lIns="0" tIns="0" rIns="0" bIns="0" rtlCol="0" anchor="ctr">
            <a:spAutoFit/>
          </a:bodyPr>
          <a:lstStyle/>
          <a:p>
            <a:pPr algn="ctr" defTabSz="685783" hangingPunct="1">
              <a:defRPr/>
            </a:pPr>
            <a:r>
              <a:rPr lang="en-US" sz="1600" dirty="0">
                <a:solidFill>
                  <a:srgbClr val="0D274D"/>
                </a:solidFill>
                <a:latin typeface="+mn-lt"/>
                <a:ea typeface="ＭＳ Ｐゴシック" charset="0"/>
              </a:rPr>
              <a:t>Digital transformation</a:t>
            </a:r>
          </a:p>
        </p:txBody>
      </p:sp>
      <p:grpSp>
        <p:nvGrpSpPr>
          <p:cNvPr id="385" name="Group 384">
            <a:extLst>
              <a:ext uri="{FF2B5EF4-FFF2-40B4-BE49-F238E27FC236}">
                <a16:creationId xmlns:a16="http://schemas.microsoft.com/office/drawing/2014/main" id="{400ABFCA-3D44-E64F-982F-D7411CE746D6}"/>
              </a:ext>
            </a:extLst>
          </p:cNvPr>
          <p:cNvGrpSpPr/>
          <p:nvPr/>
        </p:nvGrpSpPr>
        <p:grpSpPr>
          <a:xfrm>
            <a:off x="2962229" y="3103671"/>
            <a:ext cx="706630" cy="794381"/>
            <a:chOff x="11110249" y="290594"/>
            <a:chExt cx="3496226" cy="3930396"/>
          </a:xfrm>
        </p:grpSpPr>
        <p:pic>
          <p:nvPicPr>
            <p:cNvPr id="397" name="Picture 396">
              <a:extLst>
                <a:ext uri="{FF2B5EF4-FFF2-40B4-BE49-F238E27FC236}">
                  <a16:creationId xmlns:a16="http://schemas.microsoft.com/office/drawing/2014/main" id="{EC473181-0832-9046-9401-0E4E9243E747}"/>
                </a:ext>
              </a:extLst>
            </p:cNvPr>
            <p:cNvPicPr>
              <a:picLocks noChangeAspect="1"/>
            </p:cNvPicPr>
            <p:nvPr/>
          </p:nvPicPr>
          <p:blipFill>
            <a:blip r:embed="rId12" cstate="screen">
              <a:duotone>
                <a:prstClr val="black"/>
                <a:srgbClr val="00BCEB">
                  <a:tint val="45000"/>
                  <a:satMod val="400000"/>
                </a:srgbClr>
              </a:duotone>
              <a:extLst>
                <a:ext uri="{BEBA8EAE-BF5A-486C-A8C5-ECC9F3942E4B}">
                  <a14:imgProps xmlns:a14="http://schemas.microsoft.com/office/drawing/2010/main">
                    <a14:imgLayer r:embed="rId13">
                      <a14:imgEffect>
                        <a14:brightnessContrast bright="-10000"/>
                      </a14:imgEffect>
                    </a14:imgLayer>
                  </a14:imgProps>
                </a:ext>
                <a:ext uri="{28A0092B-C50C-407E-A947-70E740481C1C}">
                  <a14:useLocalDpi xmlns:a14="http://schemas.microsoft.com/office/drawing/2010/main"/>
                </a:ext>
              </a:extLst>
            </a:blip>
            <a:srcRect/>
            <a:stretch>
              <a:fillRect/>
            </a:stretch>
          </p:blipFill>
          <p:spPr>
            <a:xfrm>
              <a:off x="11331443" y="746759"/>
              <a:ext cx="2629356" cy="2773680"/>
            </a:xfrm>
            <a:custGeom>
              <a:avLst/>
              <a:gdLst>
                <a:gd name="connsiteX0" fmla="*/ 1242516 w 2629356"/>
                <a:gd name="connsiteY0" fmla="*/ 0 h 2773680"/>
                <a:gd name="connsiteX1" fmla="*/ 2629356 w 2629356"/>
                <a:gd name="connsiteY1" fmla="*/ 1386840 h 2773680"/>
                <a:gd name="connsiteX2" fmla="*/ 1242516 w 2629356"/>
                <a:gd name="connsiteY2" fmla="*/ 2773680 h 2773680"/>
                <a:gd name="connsiteX3" fmla="*/ 23060 w 2629356"/>
                <a:gd name="connsiteY3" fmla="*/ 2047891 h 2773680"/>
                <a:gd name="connsiteX4" fmla="*/ 0 w 2629356"/>
                <a:gd name="connsiteY4" fmla="*/ 2000021 h 2773680"/>
                <a:gd name="connsiteX5" fmla="*/ 0 w 2629356"/>
                <a:gd name="connsiteY5" fmla="*/ 773659 h 2773680"/>
                <a:gd name="connsiteX6" fmla="*/ 23060 w 2629356"/>
                <a:gd name="connsiteY6" fmla="*/ 725790 h 2773680"/>
                <a:gd name="connsiteX7" fmla="*/ 1242516 w 2629356"/>
                <a:gd name="connsiteY7" fmla="*/ 0 h 277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9356" h="2773680">
                  <a:moveTo>
                    <a:pt x="1242516" y="0"/>
                  </a:moveTo>
                  <a:cubicBezTo>
                    <a:pt x="2008447" y="0"/>
                    <a:pt x="2629356" y="620909"/>
                    <a:pt x="2629356" y="1386840"/>
                  </a:cubicBezTo>
                  <a:cubicBezTo>
                    <a:pt x="2629356" y="2152771"/>
                    <a:pt x="2008447" y="2773680"/>
                    <a:pt x="1242516" y="2773680"/>
                  </a:cubicBezTo>
                  <a:cubicBezTo>
                    <a:pt x="715939" y="2773680"/>
                    <a:pt x="257907" y="2480204"/>
                    <a:pt x="23060" y="2047891"/>
                  </a:cubicBezTo>
                  <a:lnTo>
                    <a:pt x="0" y="2000021"/>
                  </a:lnTo>
                  <a:lnTo>
                    <a:pt x="0" y="773659"/>
                  </a:lnTo>
                  <a:lnTo>
                    <a:pt x="23060" y="725790"/>
                  </a:lnTo>
                  <a:cubicBezTo>
                    <a:pt x="257907" y="293477"/>
                    <a:pt x="715939" y="0"/>
                    <a:pt x="1242516" y="0"/>
                  </a:cubicBezTo>
                  <a:close/>
                </a:path>
              </a:pathLst>
            </a:custGeom>
          </p:spPr>
        </p:pic>
        <p:sp>
          <p:nvSpPr>
            <p:cNvPr id="386" name="Isosceles Triangle 22">
              <a:extLst>
                <a:ext uri="{FF2B5EF4-FFF2-40B4-BE49-F238E27FC236}">
                  <a16:creationId xmlns:a16="http://schemas.microsoft.com/office/drawing/2014/main" id="{A9C52C96-12AC-3143-905D-07B17C2F09C3}"/>
                </a:ext>
              </a:extLst>
            </p:cNvPr>
            <p:cNvSpPr/>
            <p:nvPr/>
          </p:nvSpPr>
          <p:spPr>
            <a:xfrm rot="5400000">
              <a:off x="13660902" y="1143100"/>
              <a:ext cx="353612" cy="325361"/>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rgbClr val="6EBE4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latin typeface="+mn-lt"/>
                <a:ea typeface="ＭＳ Ｐゴシック" charset="0"/>
              </a:endParaRPr>
            </a:p>
          </p:txBody>
        </p:sp>
        <p:sp>
          <p:nvSpPr>
            <p:cNvPr id="387" name="Oval 386">
              <a:extLst>
                <a:ext uri="{FF2B5EF4-FFF2-40B4-BE49-F238E27FC236}">
                  <a16:creationId xmlns:a16="http://schemas.microsoft.com/office/drawing/2014/main" id="{76C83EF2-DE0C-3049-A945-D2F4C9AAC006}"/>
                </a:ext>
              </a:extLst>
            </p:cNvPr>
            <p:cNvSpPr/>
            <p:nvPr/>
          </p:nvSpPr>
          <p:spPr>
            <a:xfrm>
              <a:off x="11179718" y="746759"/>
              <a:ext cx="2773680" cy="2773680"/>
            </a:xfrm>
            <a:prstGeom prst="ellipse">
              <a:avLst/>
            </a:prstGeom>
            <a:solidFill>
              <a:srgbClr val="00BCEB">
                <a:alpha val="60000"/>
              </a:srgbClr>
            </a:solidFill>
            <a:ln w="254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pic>
          <p:nvPicPr>
            <p:cNvPr id="388" name="Picture 387" descr="A circuit board&#10;&#10;Description automatically generated">
              <a:extLst>
                <a:ext uri="{FF2B5EF4-FFF2-40B4-BE49-F238E27FC236}">
                  <a16:creationId xmlns:a16="http://schemas.microsoft.com/office/drawing/2014/main" id="{7796EB19-162C-5A47-A7ED-F0A624C769DB}"/>
                </a:ext>
              </a:extLst>
            </p:cNvPr>
            <p:cNvPicPr>
              <a:picLocks noChangeAspect="1"/>
            </p:cNvPicPr>
            <p:nvPr/>
          </p:nvPicPr>
          <p:blipFill rotWithShape="1">
            <a:blip r:embed="rId14" cstate="screen">
              <a:alphaModFix/>
              <a:extLst>
                <a:ext uri="{28A0092B-C50C-407E-A947-70E740481C1C}">
                  <a14:useLocalDpi xmlns:a14="http://schemas.microsoft.com/office/drawing/2010/main"/>
                </a:ext>
              </a:extLst>
            </a:blip>
            <a:srcRect/>
            <a:stretch/>
          </p:blipFill>
          <p:spPr>
            <a:xfrm rot="11017128">
              <a:off x="12668717" y="2553862"/>
              <a:ext cx="1673654" cy="1667128"/>
            </a:xfrm>
            <a:prstGeom prst="rect">
              <a:avLst/>
            </a:prstGeom>
          </p:spPr>
        </p:pic>
        <p:pic>
          <p:nvPicPr>
            <p:cNvPr id="389" name="Picture 388">
              <a:extLst>
                <a:ext uri="{FF2B5EF4-FFF2-40B4-BE49-F238E27FC236}">
                  <a16:creationId xmlns:a16="http://schemas.microsoft.com/office/drawing/2014/main" id="{35DD74B8-805D-F04B-A8E8-2141EFC6EEFD}"/>
                </a:ext>
              </a:extLst>
            </p:cNvPr>
            <p:cNvPicPr>
              <a:picLocks noChangeAspect="1"/>
            </p:cNvPicPr>
            <p:nvPr/>
          </p:nvPicPr>
          <p:blipFill rotWithShape="1">
            <a:blip r:embed="rId15" cstate="screen">
              <a:alphaModFix/>
              <a:extLst>
                <a:ext uri="{28A0092B-C50C-407E-A947-70E740481C1C}">
                  <a14:useLocalDpi xmlns:a14="http://schemas.microsoft.com/office/drawing/2010/main"/>
                </a:ext>
              </a:extLst>
            </a:blip>
            <a:srcRect/>
            <a:stretch/>
          </p:blipFill>
          <p:spPr>
            <a:xfrm>
              <a:off x="11324042" y="290594"/>
              <a:ext cx="1857288" cy="2670810"/>
            </a:xfrm>
            <a:prstGeom prst="rect">
              <a:avLst/>
            </a:prstGeom>
          </p:spPr>
        </p:pic>
        <p:sp>
          <p:nvSpPr>
            <p:cNvPr id="390" name="TextBox 389">
              <a:extLst>
                <a:ext uri="{FF2B5EF4-FFF2-40B4-BE49-F238E27FC236}">
                  <a16:creationId xmlns:a16="http://schemas.microsoft.com/office/drawing/2014/main" id="{791ECCFF-9F3C-9B43-A6C8-104680CF875F}"/>
                </a:ext>
              </a:extLst>
            </p:cNvPr>
            <p:cNvSpPr txBox="1"/>
            <p:nvPr/>
          </p:nvSpPr>
          <p:spPr>
            <a:xfrm>
              <a:off x="11110249" y="2264297"/>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1" name="TextBox 390">
              <a:extLst>
                <a:ext uri="{FF2B5EF4-FFF2-40B4-BE49-F238E27FC236}">
                  <a16:creationId xmlns:a16="http://schemas.microsoft.com/office/drawing/2014/main" id="{5E1A7B10-0B84-7447-842A-5D85658335CE}"/>
                </a:ext>
              </a:extLst>
            </p:cNvPr>
            <p:cNvSpPr txBox="1"/>
            <p:nvPr/>
          </p:nvSpPr>
          <p:spPr>
            <a:xfrm>
              <a:off x="11830339" y="884342"/>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2" name="TextBox 391">
              <a:extLst>
                <a:ext uri="{FF2B5EF4-FFF2-40B4-BE49-F238E27FC236}">
                  <a16:creationId xmlns:a16="http://schemas.microsoft.com/office/drawing/2014/main" id="{29FE7270-66B4-664A-9ED4-E0505669DBED}"/>
                </a:ext>
              </a:extLst>
            </p:cNvPr>
            <p:cNvSpPr txBox="1"/>
            <p:nvPr/>
          </p:nvSpPr>
          <p:spPr>
            <a:xfrm>
              <a:off x="13849555" y="700874"/>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3" name="TextBox 392">
              <a:extLst>
                <a:ext uri="{FF2B5EF4-FFF2-40B4-BE49-F238E27FC236}">
                  <a16:creationId xmlns:a16="http://schemas.microsoft.com/office/drawing/2014/main" id="{9DBF159A-755A-DC48-A25B-22C9988964A5}"/>
                </a:ext>
              </a:extLst>
            </p:cNvPr>
            <p:cNvSpPr txBox="1"/>
            <p:nvPr/>
          </p:nvSpPr>
          <p:spPr>
            <a:xfrm>
              <a:off x="14193793" y="700874"/>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4" name="TextBox 393">
              <a:extLst>
                <a:ext uri="{FF2B5EF4-FFF2-40B4-BE49-F238E27FC236}">
                  <a16:creationId xmlns:a16="http://schemas.microsoft.com/office/drawing/2014/main" id="{0C606DFB-765E-D842-85BE-30902F6BAC18}"/>
                </a:ext>
              </a:extLst>
            </p:cNvPr>
            <p:cNvSpPr txBox="1"/>
            <p:nvPr/>
          </p:nvSpPr>
          <p:spPr>
            <a:xfrm>
              <a:off x="14560756" y="3102393"/>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5" name="TextBox 394">
              <a:extLst>
                <a:ext uri="{FF2B5EF4-FFF2-40B4-BE49-F238E27FC236}">
                  <a16:creationId xmlns:a16="http://schemas.microsoft.com/office/drawing/2014/main" id="{96A61F1D-DE89-7047-B5CD-0B6A7EED1045}"/>
                </a:ext>
              </a:extLst>
            </p:cNvPr>
            <p:cNvSpPr txBox="1"/>
            <p:nvPr/>
          </p:nvSpPr>
          <p:spPr>
            <a:xfrm>
              <a:off x="12189073" y="3285430"/>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sp>
          <p:nvSpPr>
            <p:cNvPr id="396" name="TextBox 395">
              <a:extLst>
                <a:ext uri="{FF2B5EF4-FFF2-40B4-BE49-F238E27FC236}">
                  <a16:creationId xmlns:a16="http://schemas.microsoft.com/office/drawing/2014/main" id="{21464BAB-B9FF-A747-865B-A982C750D244}"/>
                </a:ext>
              </a:extLst>
            </p:cNvPr>
            <p:cNvSpPr txBox="1"/>
            <p:nvPr/>
          </p:nvSpPr>
          <p:spPr>
            <a:xfrm>
              <a:off x="11830338" y="3285430"/>
              <a:ext cx="45719" cy="46172"/>
            </a:xfrm>
            <a:prstGeom prst="ellipse">
              <a:avLst/>
            </a:prstGeom>
            <a:solidFill>
              <a:srgbClr val="9E9EA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6EBE4A"/>
                </a:solidFill>
                <a:effectLst/>
                <a:uLnTx/>
                <a:uFillTx/>
                <a:latin typeface="+mn-lt"/>
                <a:ea typeface="ＭＳ Ｐゴシック" charset="0"/>
              </a:endParaRPr>
            </a:p>
          </p:txBody>
        </p:sp>
        <p:pic>
          <p:nvPicPr>
            <p:cNvPr id="398" name="Picture 397">
              <a:extLst>
                <a:ext uri="{FF2B5EF4-FFF2-40B4-BE49-F238E27FC236}">
                  <a16:creationId xmlns:a16="http://schemas.microsoft.com/office/drawing/2014/main" id="{68AC56A3-E0CA-DE49-8045-55D7F193DCC7}"/>
                </a:ext>
              </a:extLst>
            </p:cNvPr>
            <p:cNvPicPr>
              <a:picLocks noChangeAspect="1"/>
            </p:cNvPicPr>
            <p:nvPr/>
          </p:nvPicPr>
          <p:blipFill>
            <a:blip r:embed="rId16" cstate="screen">
              <a:duotone>
                <a:prstClr val="black"/>
                <a:srgbClr val="9E9EA2">
                  <a:tint val="45000"/>
                  <a:satMod val="400000"/>
                </a:srgbClr>
              </a:duotone>
              <a:extLst>
                <a:ext uri="{28A0092B-C50C-407E-A947-70E740481C1C}">
                  <a14:useLocalDpi xmlns:a14="http://schemas.microsoft.com/office/drawing/2010/main"/>
                </a:ext>
              </a:extLst>
            </a:blip>
            <a:srcRect/>
            <a:stretch>
              <a:fillRect/>
            </a:stretch>
          </p:blipFill>
          <p:spPr>
            <a:xfrm>
              <a:off x="11324042" y="2433319"/>
              <a:ext cx="917392" cy="972970"/>
            </a:xfrm>
            <a:custGeom>
              <a:avLst/>
              <a:gdLst>
                <a:gd name="connsiteX0" fmla="*/ 430907 w 917392"/>
                <a:gd name="connsiteY0" fmla="*/ 0 h 972970"/>
                <a:gd name="connsiteX1" fmla="*/ 917392 w 917392"/>
                <a:gd name="connsiteY1" fmla="*/ 486485 h 972970"/>
                <a:gd name="connsiteX2" fmla="*/ 430907 w 917392"/>
                <a:gd name="connsiteY2" fmla="*/ 972970 h 972970"/>
                <a:gd name="connsiteX3" fmla="*/ 27506 w 917392"/>
                <a:gd name="connsiteY3" fmla="*/ 758483 h 972970"/>
                <a:gd name="connsiteX4" fmla="*/ 0 w 917392"/>
                <a:gd name="connsiteY4" fmla="*/ 707807 h 972970"/>
                <a:gd name="connsiteX5" fmla="*/ 0 w 917392"/>
                <a:gd name="connsiteY5" fmla="*/ 265163 h 972970"/>
                <a:gd name="connsiteX6" fmla="*/ 27506 w 917392"/>
                <a:gd name="connsiteY6" fmla="*/ 214487 h 972970"/>
                <a:gd name="connsiteX7" fmla="*/ 430907 w 917392"/>
                <a:gd name="connsiteY7" fmla="*/ 0 h 97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392" h="972970">
                  <a:moveTo>
                    <a:pt x="430907" y="0"/>
                  </a:moveTo>
                  <a:cubicBezTo>
                    <a:pt x="699585" y="0"/>
                    <a:pt x="917392" y="217807"/>
                    <a:pt x="917392" y="486485"/>
                  </a:cubicBezTo>
                  <a:cubicBezTo>
                    <a:pt x="917392" y="755163"/>
                    <a:pt x="699585" y="972970"/>
                    <a:pt x="430907" y="972970"/>
                  </a:cubicBezTo>
                  <a:cubicBezTo>
                    <a:pt x="262983" y="972970"/>
                    <a:pt x="114931" y="887889"/>
                    <a:pt x="27506" y="758483"/>
                  </a:cubicBezTo>
                  <a:lnTo>
                    <a:pt x="0" y="707807"/>
                  </a:lnTo>
                  <a:lnTo>
                    <a:pt x="0" y="265163"/>
                  </a:lnTo>
                  <a:lnTo>
                    <a:pt x="27506" y="214487"/>
                  </a:lnTo>
                  <a:cubicBezTo>
                    <a:pt x="114931" y="85081"/>
                    <a:pt x="262983" y="0"/>
                    <a:pt x="430907" y="0"/>
                  </a:cubicBezTo>
                  <a:close/>
                </a:path>
              </a:pathLst>
            </a:custGeom>
          </p:spPr>
        </p:pic>
        <p:sp>
          <p:nvSpPr>
            <p:cNvPr id="399" name="Freeform: Shape 904">
              <a:extLst>
                <a:ext uri="{FF2B5EF4-FFF2-40B4-BE49-F238E27FC236}">
                  <a16:creationId xmlns:a16="http://schemas.microsoft.com/office/drawing/2014/main" id="{2BD3EE0A-5590-6548-81AF-78C1C7427A61}"/>
                </a:ext>
              </a:extLst>
            </p:cNvPr>
            <p:cNvSpPr/>
            <p:nvPr/>
          </p:nvSpPr>
          <p:spPr>
            <a:xfrm>
              <a:off x="11311716" y="2433320"/>
              <a:ext cx="929718" cy="936185"/>
            </a:xfrm>
            <a:custGeom>
              <a:avLst/>
              <a:gdLst>
                <a:gd name="connsiteX0" fmla="*/ 443233 w 929718"/>
                <a:gd name="connsiteY0" fmla="*/ 0 h 936185"/>
                <a:gd name="connsiteX1" fmla="*/ 929718 w 929718"/>
                <a:gd name="connsiteY1" fmla="*/ 486485 h 936185"/>
                <a:gd name="connsiteX2" fmla="*/ 632595 w 929718"/>
                <a:gd name="connsiteY2" fmla="*/ 934740 h 936185"/>
                <a:gd name="connsiteX3" fmla="*/ 627939 w 929718"/>
                <a:gd name="connsiteY3" fmla="*/ 936185 h 936185"/>
                <a:gd name="connsiteX4" fmla="*/ 593792 w 929718"/>
                <a:gd name="connsiteY4" fmla="*/ 919736 h 936185"/>
                <a:gd name="connsiteX5" fmla="*/ 35386 w 929718"/>
                <a:gd name="connsiteY5" fmla="*/ 361330 h 936185"/>
                <a:gd name="connsiteX6" fmla="*/ 0 w 929718"/>
                <a:gd name="connsiteY6" fmla="*/ 287872 h 936185"/>
                <a:gd name="connsiteX7" fmla="*/ 39832 w 929718"/>
                <a:gd name="connsiteY7" fmla="*/ 214487 h 936185"/>
                <a:gd name="connsiteX8" fmla="*/ 443233 w 929718"/>
                <a:gd name="connsiteY8" fmla="*/ 0 h 9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718" h="936185">
                  <a:moveTo>
                    <a:pt x="443233" y="0"/>
                  </a:moveTo>
                  <a:cubicBezTo>
                    <a:pt x="711911" y="0"/>
                    <a:pt x="929718" y="217807"/>
                    <a:pt x="929718" y="486485"/>
                  </a:cubicBezTo>
                  <a:cubicBezTo>
                    <a:pt x="929718" y="687994"/>
                    <a:pt x="807202" y="860887"/>
                    <a:pt x="632595" y="934740"/>
                  </a:cubicBezTo>
                  <a:lnTo>
                    <a:pt x="627939" y="936185"/>
                  </a:lnTo>
                  <a:lnTo>
                    <a:pt x="593792" y="919736"/>
                  </a:lnTo>
                  <a:cubicBezTo>
                    <a:pt x="357985" y="791638"/>
                    <a:pt x="163484" y="597138"/>
                    <a:pt x="35386" y="361330"/>
                  </a:cubicBezTo>
                  <a:lnTo>
                    <a:pt x="0" y="287872"/>
                  </a:lnTo>
                  <a:lnTo>
                    <a:pt x="39832" y="214487"/>
                  </a:lnTo>
                  <a:cubicBezTo>
                    <a:pt x="127257" y="85081"/>
                    <a:pt x="275309" y="0"/>
                    <a:pt x="443233" y="0"/>
                  </a:cubicBezTo>
                  <a:close/>
                </a:path>
              </a:pathLst>
            </a:custGeom>
            <a:solidFill>
              <a:srgbClr val="6EBE4A">
                <a:alpha val="80000"/>
              </a:srgbClr>
            </a:solidFill>
            <a:ln w="25400" cap="flat" cmpd="sng" algn="ctr">
              <a:noFill/>
              <a:prstDash val="solid"/>
            </a:ln>
            <a:effectLst/>
          </p:spPr>
          <p:txBody>
            <a:bodyPr rtlCol="0" anchor="t"/>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D274D"/>
                </a:solidFill>
                <a:effectLst/>
                <a:uLnTx/>
                <a:uFillTx/>
                <a:latin typeface="+mn-lt"/>
                <a:ea typeface="+mn-ea"/>
                <a:cs typeface="+mn-cs"/>
              </a:endParaRPr>
            </a:p>
          </p:txBody>
        </p:sp>
        <p:sp>
          <p:nvSpPr>
            <p:cNvPr id="400" name="Isosceles Triangle 22">
              <a:extLst>
                <a:ext uri="{FF2B5EF4-FFF2-40B4-BE49-F238E27FC236}">
                  <a16:creationId xmlns:a16="http://schemas.microsoft.com/office/drawing/2014/main" id="{8FBE31BA-CBD8-C74E-8B43-CD7F68D31E40}"/>
                </a:ext>
              </a:extLst>
            </p:cNvPr>
            <p:cNvSpPr/>
            <p:nvPr/>
          </p:nvSpPr>
          <p:spPr>
            <a:xfrm rot="5400000">
              <a:off x="11252982" y="2821568"/>
              <a:ext cx="353612" cy="325361"/>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rgbClr val="6EBE4A"/>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D274D"/>
                </a:solidFill>
                <a:effectLst/>
                <a:uLnTx/>
                <a:uFillTx/>
                <a:latin typeface="+mn-lt"/>
                <a:ea typeface="ＭＳ Ｐゴシック" charset="0"/>
              </a:endParaRPr>
            </a:p>
          </p:txBody>
        </p:sp>
      </p:grpSp>
      <p:sp>
        <p:nvSpPr>
          <p:cNvPr id="401" name="Rectangle 400">
            <a:extLst>
              <a:ext uri="{FF2B5EF4-FFF2-40B4-BE49-F238E27FC236}">
                <a16:creationId xmlns:a16="http://schemas.microsoft.com/office/drawing/2014/main" id="{2900B7C4-AE26-8D45-B7A2-DEE5741C1736}"/>
              </a:ext>
            </a:extLst>
          </p:cNvPr>
          <p:cNvSpPr/>
          <p:nvPr/>
        </p:nvSpPr>
        <p:spPr>
          <a:xfrm>
            <a:off x="533400" y="1169281"/>
            <a:ext cx="2107302" cy="276999"/>
          </a:xfrm>
          <a:prstGeom prst="rect">
            <a:avLst/>
          </a:prstGeom>
          <a:noFill/>
          <a:ln w="25400" cap="flat" cmpd="sng" algn="ctr">
            <a:noFill/>
            <a:prstDash val="solid"/>
          </a:ln>
          <a:effectLst/>
        </p:spPr>
        <p:txBody>
          <a:bodyPr wrap="square" lIns="0" tIns="0" rIns="0" bIns="0" rtlCol="0" anchor="ctr">
            <a:spAutoFit/>
          </a:bodyPr>
          <a:lstStyle/>
          <a:p>
            <a:pPr defTabSz="685783" hangingPunct="1">
              <a:defRPr/>
            </a:pPr>
            <a:r>
              <a:rPr lang="en-US" dirty="0">
                <a:solidFill>
                  <a:srgbClr val="6EBE4A"/>
                </a:solidFill>
                <a:latin typeface="+mn-lt"/>
                <a:ea typeface="ＭＳ Ｐゴシック" charset="0"/>
              </a:rPr>
              <a:t>Business evolution</a:t>
            </a:r>
          </a:p>
        </p:txBody>
      </p:sp>
      <p:sp>
        <p:nvSpPr>
          <p:cNvPr id="402" name="Rectangle 401">
            <a:extLst>
              <a:ext uri="{FF2B5EF4-FFF2-40B4-BE49-F238E27FC236}">
                <a16:creationId xmlns:a16="http://schemas.microsoft.com/office/drawing/2014/main" id="{58769016-352E-6E42-BF06-8DED7095DBE3}"/>
              </a:ext>
            </a:extLst>
          </p:cNvPr>
          <p:cNvSpPr/>
          <p:nvPr/>
        </p:nvSpPr>
        <p:spPr>
          <a:xfrm>
            <a:off x="4835295" y="1169281"/>
            <a:ext cx="2107302" cy="276999"/>
          </a:xfrm>
          <a:prstGeom prst="rect">
            <a:avLst/>
          </a:prstGeom>
          <a:noFill/>
          <a:ln w="25400" cap="flat" cmpd="sng" algn="ctr">
            <a:noFill/>
            <a:prstDash val="solid"/>
          </a:ln>
          <a:effectLst/>
        </p:spPr>
        <p:txBody>
          <a:bodyPr wrap="square" lIns="0" tIns="0" rIns="0" bIns="0" rtlCol="0" anchor="ctr">
            <a:spAutoFit/>
          </a:bodyPr>
          <a:lstStyle/>
          <a:p>
            <a:pPr defTabSz="685783" hangingPunct="1">
              <a:defRPr/>
            </a:pPr>
            <a:r>
              <a:rPr lang="en-US" dirty="0">
                <a:solidFill>
                  <a:srgbClr val="6EBE4A"/>
                </a:solidFill>
                <a:latin typeface="+mn-lt"/>
                <a:ea typeface="ＭＳ Ｐゴシック" charset="0"/>
              </a:rPr>
              <a:t>Security pressures</a:t>
            </a:r>
          </a:p>
        </p:txBody>
      </p:sp>
      <p:grpSp>
        <p:nvGrpSpPr>
          <p:cNvPr id="403" name="Group 402">
            <a:extLst>
              <a:ext uri="{FF2B5EF4-FFF2-40B4-BE49-F238E27FC236}">
                <a16:creationId xmlns:a16="http://schemas.microsoft.com/office/drawing/2014/main" id="{66236E32-B398-EC42-8E9A-16C5B2056989}"/>
              </a:ext>
            </a:extLst>
          </p:cNvPr>
          <p:cNvGrpSpPr/>
          <p:nvPr/>
        </p:nvGrpSpPr>
        <p:grpSpPr>
          <a:xfrm>
            <a:off x="7421612" y="3082107"/>
            <a:ext cx="998208" cy="837508"/>
            <a:chOff x="7203281" y="2978149"/>
            <a:chExt cx="1188244" cy="996950"/>
          </a:xfrm>
        </p:grpSpPr>
        <p:sp>
          <p:nvSpPr>
            <p:cNvPr id="404" name="Freeform: Shape 263">
              <a:extLst>
                <a:ext uri="{FF2B5EF4-FFF2-40B4-BE49-F238E27FC236}">
                  <a16:creationId xmlns:a16="http://schemas.microsoft.com/office/drawing/2014/main" id="{96C7D272-6E3A-EC45-A907-DC14B7F71CE8}"/>
                </a:ext>
              </a:extLst>
            </p:cNvPr>
            <p:cNvSpPr/>
            <p:nvPr/>
          </p:nvSpPr>
          <p:spPr>
            <a:xfrm>
              <a:off x="7546134" y="3069242"/>
              <a:ext cx="606501" cy="606500"/>
            </a:xfrm>
            <a:custGeom>
              <a:avLst/>
              <a:gdLst>
                <a:gd name="connsiteX0" fmla="*/ 156628 w 156627"/>
                <a:gd name="connsiteY0" fmla="*/ 78314 h 156627"/>
                <a:gd name="connsiteX1" fmla="*/ 78314 w 156627"/>
                <a:gd name="connsiteY1" fmla="*/ 156628 h 156627"/>
                <a:gd name="connsiteX2" fmla="*/ 0 w 156627"/>
                <a:gd name="connsiteY2" fmla="*/ 78314 h 156627"/>
                <a:gd name="connsiteX3" fmla="*/ 78314 w 156627"/>
                <a:gd name="connsiteY3" fmla="*/ 0 h 156627"/>
                <a:gd name="connsiteX4" fmla="*/ 156628 w 156627"/>
                <a:gd name="connsiteY4" fmla="*/ 78314 h 15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27" h="156627">
                  <a:moveTo>
                    <a:pt x="156628" y="78314"/>
                  </a:moveTo>
                  <a:cubicBezTo>
                    <a:pt x="156628" y="121566"/>
                    <a:pt x="121566" y="156628"/>
                    <a:pt x="78314" y="156628"/>
                  </a:cubicBezTo>
                  <a:cubicBezTo>
                    <a:pt x="35062" y="156628"/>
                    <a:pt x="0" y="121566"/>
                    <a:pt x="0" y="78314"/>
                  </a:cubicBezTo>
                  <a:cubicBezTo>
                    <a:pt x="0" y="35062"/>
                    <a:pt x="35062" y="0"/>
                    <a:pt x="78314" y="0"/>
                  </a:cubicBezTo>
                  <a:cubicBezTo>
                    <a:pt x="121566" y="0"/>
                    <a:pt x="156628" y="35062"/>
                    <a:pt x="156628" y="78314"/>
                  </a:cubicBezTo>
                  <a:close/>
                </a:path>
              </a:pathLst>
            </a:custGeom>
            <a:solidFill>
              <a:srgbClr val="FBAB18">
                <a:alpha val="60000"/>
              </a:srgbClr>
            </a:solid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pic>
          <p:nvPicPr>
            <p:cNvPr id="405" name="Picture 404" descr="A hand holding a black umbrella&#10;&#10;Description automatically generated">
              <a:extLst>
                <a:ext uri="{FF2B5EF4-FFF2-40B4-BE49-F238E27FC236}">
                  <a16:creationId xmlns:a16="http://schemas.microsoft.com/office/drawing/2014/main" id="{0208E980-FE5A-994C-815C-01777386840C}"/>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7203281" y="2978149"/>
              <a:ext cx="1188244" cy="996950"/>
            </a:xfrm>
            <a:custGeom>
              <a:avLst/>
              <a:gdLst>
                <a:gd name="connsiteX0" fmla="*/ 195402 w 1188244"/>
                <a:gd name="connsiteY0" fmla="*/ 0 h 996950"/>
                <a:gd name="connsiteX1" fmla="*/ 992843 w 1188244"/>
                <a:gd name="connsiteY1" fmla="*/ 0 h 996950"/>
                <a:gd name="connsiteX2" fmla="*/ 1014230 w 1188244"/>
                <a:gd name="connsiteY2" fmla="*/ 17646 h 996950"/>
                <a:gd name="connsiteX3" fmla="*/ 1188244 w 1188244"/>
                <a:gd name="connsiteY3" fmla="*/ 437754 h 996950"/>
                <a:gd name="connsiteX4" fmla="*/ 825382 w 1188244"/>
                <a:gd name="connsiteY4" fmla="*/ 985187 h 996950"/>
                <a:gd name="connsiteX5" fmla="*/ 787487 w 1188244"/>
                <a:gd name="connsiteY5" fmla="*/ 996950 h 996950"/>
                <a:gd name="connsiteX6" fmla="*/ 400757 w 1188244"/>
                <a:gd name="connsiteY6" fmla="*/ 996950 h 996950"/>
                <a:gd name="connsiteX7" fmla="*/ 362863 w 1188244"/>
                <a:gd name="connsiteY7" fmla="*/ 985187 h 996950"/>
                <a:gd name="connsiteX8" fmla="*/ 0 w 1188244"/>
                <a:gd name="connsiteY8" fmla="*/ 437754 h 996950"/>
                <a:gd name="connsiteX9" fmla="*/ 174014 w 1188244"/>
                <a:gd name="connsiteY9" fmla="*/ 17646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244" h="996950">
                  <a:moveTo>
                    <a:pt x="195402" y="0"/>
                  </a:moveTo>
                  <a:lnTo>
                    <a:pt x="992843" y="0"/>
                  </a:lnTo>
                  <a:lnTo>
                    <a:pt x="1014230" y="17646"/>
                  </a:lnTo>
                  <a:cubicBezTo>
                    <a:pt x="1121745" y="125161"/>
                    <a:pt x="1188244" y="273692"/>
                    <a:pt x="1188244" y="437754"/>
                  </a:cubicBezTo>
                  <a:cubicBezTo>
                    <a:pt x="1188244" y="683848"/>
                    <a:pt x="1038621" y="894995"/>
                    <a:pt x="825382" y="985187"/>
                  </a:cubicBezTo>
                  <a:lnTo>
                    <a:pt x="787487" y="996950"/>
                  </a:lnTo>
                  <a:lnTo>
                    <a:pt x="400757" y="996950"/>
                  </a:lnTo>
                  <a:lnTo>
                    <a:pt x="362863" y="985187"/>
                  </a:lnTo>
                  <a:cubicBezTo>
                    <a:pt x="149624" y="894995"/>
                    <a:pt x="0" y="683848"/>
                    <a:pt x="0" y="437754"/>
                  </a:cubicBezTo>
                  <a:cubicBezTo>
                    <a:pt x="0" y="273692"/>
                    <a:pt x="66500" y="125161"/>
                    <a:pt x="174014" y="17646"/>
                  </a:cubicBezTo>
                  <a:close/>
                </a:path>
              </a:pathLst>
            </a:custGeom>
          </p:spPr>
        </p:pic>
        <p:sp>
          <p:nvSpPr>
            <p:cNvPr id="406" name="Freeform: Shape 265">
              <a:extLst>
                <a:ext uri="{FF2B5EF4-FFF2-40B4-BE49-F238E27FC236}">
                  <a16:creationId xmlns:a16="http://schemas.microsoft.com/office/drawing/2014/main" id="{FFFD095B-B071-A347-BEAC-23D71C01E222}"/>
                </a:ext>
              </a:extLst>
            </p:cNvPr>
            <p:cNvSpPr/>
            <p:nvPr/>
          </p:nvSpPr>
          <p:spPr>
            <a:xfrm>
              <a:off x="7604389" y="3340161"/>
              <a:ext cx="512513" cy="512512"/>
            </a:xfrm>
            <a:custGeom>
              <a:avLst/>
              <a:gdLst>
                <a:gd name="connsiteX0" fmla="*/ 0 w 1667159"/>
                <a:gd name="connsiteY0" fmla="*/ 1600184 h 1667159"/>
                <a:gd name="connsiteX1" fmla="*/ 0 w 1667159"/>
                <a:gd name="connsiteY1" fmla="*/ 63511 h 1667159"/>
                <a:gd name="connsiteX2" fmla="*/ 63511 w 1667159"/>
                <a:gd name="connsiteY2" fmla="*/ 0 h 1667159"/>
                <a:gd name="connsiteX3" fmla="*/ 1600184 w 1667159"/>
                <a:gd name="connsiteY3" fmla="*/ 0 h 1667159"/>
                <a:gd name="connsiteX4" fmla="*/ 1647459 w 1667159"/>
                <a:gd name="connsiteY4" fmla="*/ 114128 h 1667159"/>
                <a:gd name="connsiteX5" fmla="*/ 114128 w 1667159"/>
                <a:gd name="connsiteY5" fmla="*/ 1647459 h 1667159"/>
                <a:gd name="connsiteX6" fmla="*/ 0 w 1667159"/>
                <a:gd name="connsiteY6" fmla="*/ 1600184 h 166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7159" h="1667159">
                  <a:moveTo>
                    <a:pt x="0" y="1600184"/>
                  </a:moveTo>
                  <a:lnTo>
                    <a:pt x="0" y="63511"/>
                  </a:lnTo>
                  <a:cubicBezTo>
                    <a:pt x="0" y="28174"/>
                    <a:pt x="28651" y="0"/>
                    <a:pt x="63511" y="0"/>
                  </a:cubicBezTo>
                  <a:lnTo>
                    <a:pt x="1600184" y="0"/>
                  </a:lnTo>
                  <a:cubicBezTo>
                    <a:pt x="1659875" y="0"/>
                    <a:pt x="1689481" y="72106"/>
                    <a:pt x="1647459" y="114128"/>
                  </a:cubicBezTo>
                  <a:lnTo>
                    <a:pt x="114128" y="1647459"/>
                  </a:lnTo>
                  <a:cubicBezTo>
                    <a:pt x="72106" y="1689481"/>
                    <a:pt x="0" y="1659874"/>
                    <a:pt x="0" y="1600184"/>
                  </a:cubicBezTo>
                  <a:close/>
                </a:path>
              </a:pathLst>
            </a:custGeom>
            <a:solidFill>
              <a:srgbClr val="E3241B">
                <a:alpha val="60000"/>
              </a:srgbClr>
            </a:solid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07" name="Freeform: Shape 266">
              <a:extLst>
                <a:ext uri="{FF2B5EF4-FFF2-40B4-BE49-F238E27FC236}">
                  <a16:creationId xmlns:a16="http://schemas.microsoft.com/office/drawing/2014/main" id="{EBBF8614-BD31-7C41-9027-F3526D18C410}"/>
                </a:ext>
              </a:extLst>
            </p:cNvPr>
            <p:cNvSpPr/>
            <p:nvPr/>
          </p:nvSpPr>
          <p:spPr>
            <a:xfrm>
              <a:off x="7935422" y="3810944"/>
              <a:ext cx="48149" cy="48149"/>
            </a:xfrm>
            <a:custGeom>
              <a:avLst/>
              <a:gdLst>
                <a:gd name="connsiteX0" fmla="*/ 156628 w 156627"/>
                <a:gd name="connsiteY0" fmla="*/ 78314 h 156627"/>
                <a:gd name="connsiteX1" fmla="*/ 78314 w 156627"/>
                <a:gd name="connsiteY1" fmla="*/ 156628 h 156627"/>
                <a:gd name="connsiteX2" fmla="*/ 0 w 156627"/>
                <a:gd name="connsiteY2" fmla="*/ 78314 h 156627"/>
                <a:gd name="connsiteX3" fmla="*/ 78314 w 156627"/>
                <a:gd name="connsiteY3" fmla="*/ 0 h 156627"/>
                <a:gd name="connsiteX4" fmla="*/ 156628 w 156627"/>
                <a:gd name="connsiteY4" fmla="*/ 78314 h 15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27" h="156627">
                  <a:moveTo>
                    <a:pt x="156628" y="78314"/>
                  </a:moveTo>
                  <a:cubicBezTo>
                    <a:pt x="156628" y="121566"/>
                    <a:pt x="121566" y="156628"/>
                    <a:pt x="78314" y="156628"/>
                  </a:cubicBezTo>
                  <a:cubicBezTo>
                    <a:pt x="35062" y="156628"/>
                    <a:pt x="0" y="121566"/>
                    <a:pt x="0" y="78314"/>
                  </a:cubicBezTo>
                  <a:cubicBezTo>
                    <a:pt x="0" y="35062"/>
                    <a:pt x="35062" y="0"/>
                    <a:pt x="78314" y="0"/>
                  </a:cubicBezTo>
                  <a:cubicBezTo>
                    <a:pt x="121566" y="0"/>
                    <a:pt x="156628" y="35062"/>
                    <a:pt x="156628" y="78314"/>
                  </a:cubicBezTo>
                  <a:close/>
                </a:path>
              </a:pathLst>
            </a:custGeom>
            <a:solidFill>
              <a:srgbClr val="FBAB18"/>
            </a:solid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08" name="Freeform: Shape 268">
              <a:extLst>
                <a:ext uri="{FF2B5EF4-FFF2-40B4-BE49-F238E27FC236}">
                  <a16:creationId xmlns:a16="http://schemas.microsoft.com/office/drawing/2014/main" id="{2D83B0A2-1244-A746-87A9-B8259AC801AF}"/>
                </a:ext>
              </a:extLst>
            </p:cNvPr>
            <p:cNvSpPr/>
            <p:nvPr/>
          </p:nvSpPr>
          <p:spPr>
            <a:xfrm>
              <a:off x="7588829" y="3286286"/>
              <a:ext cx="113772" cy="97767"/>
            </a:xfrm>
            <a:custGeom>
              <a:avLst/>
              <a:gdLst>
                <a:gd name="connsiteX0" fmla="*/ 0 w 370090"/>
                <a:gd name="connsiteY0" fmla="*/ 25309 h 318030"/>
                <a:gd name="connsiteX1" fmla="*/ 3343 w 370090"/>
                <a:gd name="connsiteY1" fmla="*/ 12893 h 318030"/>
                <a:gd name="connsiteX2" fmla="*/ 25786 w 370090"/>
                <a:gd name="connsiteY2" fmla="*/ 0 h 318030"/>
                <a:gd name="connsiteX3" fmla="*/ 344295 w 370090"/>
                <a:gd name="connsiteY3" fmla="*/ 0 h 318030"/>
                <a:gd name="connsiteX4" fmla="*/ 366739 w 370090"/>
                <a:gd name="connsiteY4" fmla="*/ 12893 h 318030"/>
                <a:gd name="connsiteX5" fmla="*/ 366261 w 370090"/>
                <a:gd name="connsiteY5" fmla="*/ 38679 h 318030"/>
                <a:gd name="connsiteX6" fmla="*/ 207246 w 370090"/>
                <a:gd name="connsiteY6" fmla="*/ 305615 h 318030"/>
                <a:gd name="connsiteX7" fmla="*/ 185279 w 370090"/>
                <a:gd name="connsiteY7" fmla="*/ 318031 h 318030"/>
                <a:gd name="connsiteX8" fmla="*/ 163313 w 370090"/>
                <a:gd name="connsiteY8" fmla="*/ 305615 h 318030"/>
                <a:gd name="connsiteX9" fmla="*/ 3343 w 370090"/>
                <a:gd name="connsiteY9" fmla="*/ 38679 h 318030"/>
                <a:gd name="connsiteX10" fmla="*/ 0 w 370090"/>
                <a:gd name="connsiteY10" fmla="*/ 25309 h 318030"/>
                <a:gd name="connsiteX11" fmla="*/ 355278 w 370090"/>
                <a:gd name="connsiteY11" fmla="*/ 25309 h 318030"/>
                <a:gd name="connsiteX12" fmla="*/ 353846 w 370090"/>
                <a:gd name="connsiteY12" fmla="*/ 19578 h 318030"/>
                <a:gd name="connsiteX13" fmla="*/ 344295 w 370090"/>
                <a:gd name="connsiteY13" fmla="*/ 13848 h 318030"/>
                <a:gd name="connsiteX14" fmla="*/ 25786 w 370090"/>
                <a:gd name="connsiteY14" fmla="*/ 13848 h 318030"/>
                <a:gd name="connsiteX15" fmla="*/ 16236 w 370090"/>
                <a:gd name="connsiteY15" fmla="*/ 19578 h 318030"/>
                <a:gd name="connsiteX16" fmla="*/ 16236 w 370090"/>
                <a:gd name="connsiteY16" fmla="*/ 31039 h 318030"/>
                <a:gd name="connsiteX17" fmla="*/ 175251 w 370090"/>
                <a:gd name="connsiteY17" fmla="*/ 297975 h 318030"/>
                <a:gd name="connsiteX18" fmla="*/ 184802 w 370090"/>
                <a:gd name="connsiteY18" fmla="*/ 303228 h 318030"/>
                <a:gd name="connsiteX19" fmla="*/ 194352 w 370090"/>
                <a:gd name="connsiteY19" fmla="*/ 297975 h 318030"/>
                <a:gd name="connsiteX20" fmla="*/ 194352 w 370090"/>
                <a:gd name="connsiteY20" fmla="*/ 297975 h 318030"/>
                <a:gd name="connsiteX21" fmla="*/ 353368 w 370090"/>
                <a:gd name="connsiteY21" fmla="*/ 31039 h 318030"/>
                <a:gd name="connsiteX22" fmla="*/ 355278 w 370090"/>
                <a:gd name="connsiteY22" fmla="*/ 25309 h 31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90" h="318030">
                  <a:moveTo>
                    <a:pt x="0" y="25309"/>
                  </a:moveTo>
                  <a:cubicBezTo>
                    <a:pt x="0" y="21011"/>
                    <a:pt x="955" y="16713"/>
                    <a:pt x="3343" y="12893"/>
                  </a:cubicBezTo>
                  <a:cubicBezTo>
                    <a:pt x="8118" y="4775"/>
                    <a:pt x="16236" y="0"/>
                    <a:pt x="25786" y="0"/>
                  </a:cubicBezTo>
                  <a:lnTo>
                    <a:pt x="344295" y="0"/>
                  </a:lnTo>
                  <a:cubicBezTo>
                    <a:pt x="353846" y="0"/>
                    <a:pt x="361963" y="4775"/>
                    <a:pt x="366739" y="12893"/>
                  </a:cubicBezTo>
                  <a:cubicBezTo>
                    <a:pt x="371514" y="21011"/>
                    <a:pt x="371036" y="30562"/>
                    <a:pt x="366261" y="38679"/>
                  </a:cubicBezTo>
                  <a:lnTo>
                    <a:pt x="207246" y="305615"/>
                  </a:lnTo>
                  <a:cubicBezTo>
                    <a:pt x="202470" y="313256"/>
                    <a:pt x="194352" y="318031"/>
                    <a:pt x="185279" y="318031"/>
                  </a:cubicBezTo>
                  <a:cubicBezTo>
                    <a:pt x="176207" y="318031"/>
                    <a:pt x="168089" y="313256"/>
                    <a:pt x="163313" y="305615"/>
                  </a:cubicBezTo>
                  <a:lnTo>
                    <a:pt x="3343" y="38679"/>
                  </a:lnTo>
                  <a:cubicBezTo>
                    <a:pt x="955" y="34382"/>
                    <a:pt x="0" y="30084"/>
                    <a:pt x="0" y="25309"/>
                  </a:cubicBezTo>
                  <a:close/>
                  <a:moveTo>
                    <a:pt x="355278" y="25309"/>
                  </a:moveTo>
                  <a:cubicBezTo>
                    <a:pt x="355278" y="23399"/>
                    <a:pt x="354801" y="21489"/>
                    <a:pt x="353846" y="19578"/>
                  </a:cubicBezTo>
                  <a:cubicBezTo>
                    <a:pt x="351936" y="16236"/>
                    <a:pt x="348115" y="13848"/>
                    <a:pt x="344295" y="13848"/>
                  </a:cubicBezTo>
                  <a:lnTo>
                    <a:pt x="25786" y="13848"/>
                  </a:lnTo>
                  <a:cubicBezTo>
                    <a:pt x="21489" y="13848"/>
                    <a:pt x="18146" y="15758"/>
                    <a:pt x="16236" y="19578"/>
                  </a:cubicBezTo>
                  <a:cubicBezTo>
                    <a:pt x="14326" y="22921"/>
                    <a:pt x="14326" y="27219"/>
                    <a:pt x="16236" y="31039"/>
                  </a:cubicBezTo>
                  <a:lnTo>
                    <a:pt x="175251" y="297975"/>
                  </a:lnTo>
                  <a:cubicBezTo>
                    <a:pt x="177162" y="301318"/>
                    <a:pt x="180982" y="303228"/>
                    <a:pt x="184802" y="303228"/>
                  </a:cubicBezTo>
                  <a:cubicBezTo>
                    <a:pt x="188622" y="303228"/>
                    <a:pt x="192442" y="301318"/>
                    <a:pt x="194352" y="297975"/>
                  </a:cubicBezTo>
                  <a:cubicBezTo>
                    <a:pt x="194352" y="297975"/>
                    <a:pt x="194352" y="297975"/>
                    <a:pt x="194352" y="297975"/>
                  </a:cubicBezTo>
                  <a:lnTo>
                    <a:pt x="353368" y="31039"/>
                  </a:lnTo>
                  <a:cubicBezTo>
                    <a:pt x="354323" y="29606"/>
                    <a:pt x="355278" y="27696"/>
                    <a:pt x="355278" y="25309"/>
                  </a:cubicBezTo>
                  <a:close/>
                </a:path>
              </a:pathLst>
            </a:custGeom>
            <a:solidFill>
              <a:srgbClr val="6CBD4B"/>
            </a:solid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nvGrpSpPr>
            <p:cNvPr id="409" name="Graphic 3">
              <a:extLst>
                <a:ext uri="{FF2B5EF4-FFF2-40B4-BE49-F238E27FC236}">
                  <a16:creationId xmlns:a16="http://schemas.microsoft.com/office/drawing/2014/main" id="{8CC84F8F-A716-9947-80CA-D5C99B8AAE12}"/>
                </a:ext>
              </a:extLst>
            </p:cNvPr>
            <p:cNvGrpSpPr/>
            <p:nvPr/>
          </p:nvGrpSpPr>
          <p:grpSpPr>
            <a:xfrm>
              <a:off x="8074550" y="3388274"/>
              <a:ext cx="23708" cy="23671"/>
              <a:chOff x="5394053" y="2295073"/>
              <a:chExt cx="77120" cy="77000"/>
            </a:xfrm>
            <a:solidFill>
              <a:srgbClr val="FBAB18">
                <a:alpha val="60000"/>
              </a:srgbClr>
            </a:solidFill>
          </p:grpSpPr>
          <p:sp>
            <p:nvSpPr>
              <p:cNvPr id="433" name="Freeform: Shape 304">
                <a:extLst>
                  <a:ext uri="{FF2B5EF4-FFF2-40B4-BE49-F238E27FC236}">
                    <a16:creationId xmlns:a16="http://schemas.microsoft.com/office/drawing/2014/main" id="{22C0D460-D99B-5644-A0DB-DC91493B09C7}"/>
                  </a:ext>
                </a:extLst>
              </p:cNvPr>
              <p:cNvSpPr/>
              <p:nvPr/>
            </p:nvSpPr>
            <p:spPr>
              <a:xfrm>
                <a:off x="5394053" y="2295073"/>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34" name="Freeform: Shape 305">
                <a:extLst>
                  <a:ext uri="{FF2B5EF4-FFF2-40B4-BE49-F238E27FC236}">
                    <a16:creationId xmlns:a16="http://schemas.microsoft.com/office/drawing/2014/main" id="{9FFDA3CD-4072-9347-9A44-E1EFE17AFF0F}"/>
                  </a:ext>
                </a:extLst>
              </p:cNvPr>
              <p:cNvSpPr/>
              <p:nvPr/>
            </p:nvSpPr>
            <p:spPr>
              <a:xfrm>
                <a:off x="5394053" y="2295073"/>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0" name="Graphic 3">
              <a:extLst>
                <a:ext uri="{FF2B5EF4-FFF2-40B4-BE49-F238E27FC236}">
                  <a16:creationId xmlns:a16="http://schemas.microsoft.com/office/drawing/2014/main" id="{C5E2F9B8-2260-9E41-98DD-C7BA9EB539C9}"/>
                </a:ext>
              </a:extLst>
            </p:cNvPr>
            <p:cNvGrpSpPr/>
            <p:nvPr/>
          </p:nvGrpSpPr>
          <p:grpSpPr>
            <a:xfrm>
              <a:off x="8168208" y="3493235"/>
              <a:ext cx="23708" cy="23671"/>
              <a:chOff x="5698714" y="2636503"/>
              <a:chExt cx="77120" cy="77000"/>
            </a:xfrm>
            <a:solidFill>
              <a:srgbClr val="E3241B">
                <a:alpha val="60000"/>
              </a:srgbClr>
            </a:solidFill>
          </p:grpSpPr>
          <p:sp>
            <p:nvSpPr>
              <p:cNvPr id="431" name="Freeform: Shape 302">
                <a:extLst>
                  <a:ext uri="{FF2B5EF4-FFF2-40B4-BE49-F238E27FC236}">
                    <a16:creationId xmlns:a16="http://schemas.microsoft.com/office/drawing/2014/main" id="{5F235BB1-ECCD-6940-98C9-9EA284A11B74}"/>
                  </a:ext>
                </a:extLst>
              </p:cNvPr>
              <p:cNvSpPr/>
              <p:nvPr/>
            </p:nvSpPr>
            <p:spPr>
              <a:xfrm>
                <a:off x="5698714" y="2636503"/>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32" name="Freeform: Shape 303">
                <a:extLst>
                  <a:ext uri="{FF2B5EF4-FFF2-40B4-BE49-F238E27FC236}">
                    <a16:creationId xmlns:a16="http://schemas.microsoft.com/office/drawing/2014/main" id="{B2030EC2-A64B-5943-A352-F74323775087}"/>
                  </a:ext>
                </a:extLst>
              </p:cNvPr>
              <p:cNvSpPr/>
              <p:nvPr/>
            </p:nvSpPr>
            <p:spPr>
              <a:xfrm>
                <a:off x="5698714" y="2636503"/>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1" name="Graphic 3">
              <a:extLst>
                <a:ext uri="{FF2B5EF4-FFF2-40B4-BE49-F238E27FC236}">
                  <a16:creationId xmlns:a16="http://schemas.microsoft.com/office/drawing/2014/main" id="{8771BF5A-2AC8-8744-BAEF-C046AE7A8497}"/>
                </a:ext>
              </a:extLst>
            </p:cNvPr>
            <p:cNvGrpSpPr/>
            <p:nvPr/>
          </p:nvGrpSpPr>
          <p:grpSpPr>
            <a:xfrm>
              <a:off x="8261865" y="3546229"/>
              <a:ext cx="23708" cy="23671"/>
              <a:chOff x="6003374" y="2808889"/>
              <a:chExt cx="77120" cy="77000"/>
            </a:xfrm>
            <a:solidFill>
              <a:srgbClr val="E3241B">
                <a:alpha val="60000"/>
              </a:srgbClr>
            </a:solidFill>
          </p:grpSpPr>
          <p:sp>
            <p:nvSpPr>
              <p:cNvPr id="429" name="Freeform: Shape 300">
                <a:extLst>
                  <a:ext uri="{FF2B5EF4-FFF2-40B4-BE49-F238E27FC236}">
                    <a16:creationId xmlns:a16="http://schemas.microsoft.com/office/drawing/2014/main" id="{09E1897B-A399-A14B-BBE5-6A1D99E1A3E0}"/>
                  </a:ext>
                </a:extLst>
              </p:cNvPr>
              <p:cNvSpPr/>
              <p:nvPr/>
            </p:nvSpPr>
            <p:spPr>
              <a:xfrm>
                <a:off x="6003374" y="2808889"/>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30" name="Freeform: Shape 301">
                <a:extLst>
                  <a:ext uri="{FF2B5EF4-FFF2-40B4-BE49-F238E27FC236}">
                    <a16:creationId xmlns:a16="http://schemas.microsoft.com/office/drawing/2014/main" id="{63455444-D472-124A-AF12-ECDA96CE26CE}"/>
                  </a:ext>
                </a:extLst>
              </p:cNvPr>
              <p:cNvSpPr/>
              <p:nvPr/>
            </p:nvSpPr>
            <p:spPr>
              <a:xfrm>
                <a:off x="6003374" y="2808889"/>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2" name="Graphic 3">
              <a:extLst>
                <a:ext uri="{FF2B5EF4-FFF2-40B4-BE49-F238E27FC236}">
                  <a16:creationId xmlns:a16="http://schemas.microsoft.com/office/drawing/2014/main" id="{3445B6EF-C975-6641-9D7C-D7489F78D323}"/>
                </a:ext>
              </a:extLst>
            </p:cNvPr>
            <p:cNvGrpSpPr/>
            <p:nvPr/>
          </p:nvGrpSpPr>
          <p:grpSpPr>
            <a:xfrm>
              <a:off x="8216651" y="3652659"/>
              <a:ext cx="23855" cy="23671"/>
              <a:chOff x="5856297" y="3155094"/>
              <a:chExt cx="77597" cy="77000"/>
            </a:xfrm>
            <a:solidFill>
              <a:srgbClr val="E3241B">
                <a:alpha val="60000"/>
              </a:srgbClr>
            </a:solidFill>
          </p:grpSpPr>
          <p:sp>
            <p:nvSpPr>
              <p:cNvPr id="427" name="Freeform: Shape 298">
                <a:extLst>
                  <a:ext uri="{FF2B5EF4-FFF2-40B4-BE49-F238E27FC236}">
                    <a16:creationId xmlns:a16="http://schemas.microsoft.com/office/drawing/2014/main" id="{0A41AD8A-C1F1-E34A-A852-45AA9D421C1B}"/>
                  </a:ext>
                </a:extLst>
              </p:cNvPr>
              <p:cNvSpPr/>
              <p:nvPr/>
            </p:nvSpPr>
            <p:spPr>
              <a:xfrm>
                <a:off x="5856775" y="3155094"/>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3968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3968" y="74613"/>
                    </a:lnTo>
                    <a:cubicBezTo>
                      <a:pt x="12535" y="76046"/>
                      <a:pt x="10147"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28" name="Freeform: Shape 299">
                <a:extLst>
                  <a:ext uri="{FF2B5EF4-FFF2-40B4-BE49-F238E27FC236}">
                    <a16:creationId xmlns:a16="http://schemas.microsoft.com/office/drawing/2014/main" id="{27055A4F-23E0-C341-8E17-85F4CA944F0B}"/>
                  </a:ext>
                </a:extLst>
              </p:cNvPr>
              <p:cNvSpPr/>
              <p:nvPr/>
            </p:nvSpPr>
            <p:spPr>
              <a:xfrm>
                <a:off x="5856297" y="3155094"/>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793"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3" name="Graphic 3">
              <a:extLst>
                <a:ext uri="{FF2B5EF4-FFF2-40B4-BE49-F238E27FC236}">
                  <a16:creationId xmlns:a16="http://schemas.microsoft.com/office/drawing/2014/main" id="{2DFC7BC9-85D9-AC44-8BFE-02B9F1002614}"/>
                </a:ext>
              </a:extLst>
            </p:cNvPr>
            <p:cNvGrpSpPr/>
            <p:nvPr/>
          </p:nvGrpSpPr>
          <p:grpSpPr>
            <a:xfrm>
              <a:off x="8122699" y="3601279"/>
              <a:ext cx="23855" cy="23671"/>
              <a:chOff x="5550681" y="2987961"/>
              <a:chExt cx="77597" cy="77000"/>
            </a:xfrm>
            <a:solidFill>
              <a:srgbClr val="FBAB18">
                <a:alpha val="60000"/>
              </a:srgbClr>
            </a:solidFill>
          </p:grpSpPr>
          <p:sp>
            <p:nvSpPr>
              <p:cNvPr id="425" name="Freeform: Shape 296">
                <a:extLst>
                  <a:ext uri="{FF2B5EF4-FFF2-40B4-BE49-F238E27FC236}">
                    <a16:creationId xmlns:a16="http://schemas.microsoft.com/office/drawing/2014/main" id="{BCDE4E62-6093-FB44-B592-5AC3BED64958}"/>
                  </a:ext>
                </a:extLst>
              </p:cNvPr>
              <p:cNvSpPr/>
              <p:nvPr/>
            </p:nvSpPr>
            <p:spPr>
              <a:xfrm>
                <a:off x="5551159" y="2987961"/>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3968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3968" y="74613"/>
                    </a:lnTo>
                    <a:cubicBezTo>
                      <a:pt x="12535" y="76523"/>
                      <a:pt x="10147"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26" name="Freeform: Shape 297">
                <a:extLst>
                  <a:ext uri="{FF2B5EF4-FFF2-40B4-BE49-F238E27FC236}">
                    <a16:creationId xmlns:a16="http://schemas.microsoft.com/office/drawing/2014/main" id="{8D06FFA0-351C-CB43-A4F2-521C057BC412}"/>
                  </a:ext>
                </a:extLst>
              </p:cNvPr>
              <p:cNvSpPr/>
              <p:nvPr/>
            </p:nvSpPr>
            <p:spPr>
              <a:xfrm>
                <a:off x="5550681" y="2987961"/>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523"/>
                      <a:pt x="70793"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4" name="Graphic 3">
              <a:extLst>
                <a:ext uri="{FF2B5EF4-FFF2-40B4-BE49-F238E27FC236}">
                  <a16:creationId xmlns:a16="http://schemas.microsoft.com/office/drawing/2014/main" id="{A8E18AC6-F3C3-E541-982D-7E7EAA9772ED}"/>
                </a:ext>
              </a:extLst>
            </p:cNvPr>
            <p:cNvGrpSpPr/>
            <p:nvPr/>
          </p:nvGrpSpPr>
          <p:grpSpPr>
            <a:xfrm>
              <a:off x="8026987" y="3546229"/>
              <a:ext cx="23708" cy="23671"/>
              <a:chOff x="5239335" y="2808889"/>
              <a:chExt cx="77120" cy="77000"/>
            </a:xfrm>
            <a:solidFill>
              <a:srgbClr val="FBAB18">
                <a:alpha val="60000"/>
              </a:srgbClr>
            </a:solidFill>
          </p:grpSpPr>
          <p:sp>
            <p:nvSpPr>
              <p:cNvPr id="423" name="Freeform: Shape 287">
                <a:extLst>
                  <a:ext uri="{FF2B5EF4-FFF2-40B4-BE49-F238E27FC236}">
                    <a16:creationId xmlns:a16="http://schemas.microsoft.com/office/drawing/2014/main" id="{963D7C9E-438A-7E4B-AED2-E3C0205F6673}"/>
                  </a:ext>
                </a:extLst>
              </p:cNvPr>
              <p:cNvSpPr/>
              <p:nvPr/>
            </p:nvSpPr>
            <p:spPr>
              <a:xfrm>
                <a:off x="5239335" y="2808889"/>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24" name="Freeform: Shape 295">
                <a:extLst>
                  <a:ext uri="{FF2B5EF4-FFF2-40B4-BE49-F238E27FC236}">
                    <a16:creationId xmlns:a16="http://schemas.microsoft.com/office/drawing/2014/main" id="{A0673E10-F4A1-F64E-90BC-AB8FB8D1E26C}"/>
                  </a:ext>
                </a:extLst>
              </p:cNvPr>
              <p:cNvSpPr/>
              <p:nvPr/>
            </p:nvSpPr>
            <p:spPr>
              <a:xfrm>
                <a:off x="5239335" y="2808889"/>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5" name="Graphic 3">
              <a:extLst>
                <a:ext uri="{FF2B5EF4-FFF2-40B4-BE49-F238E27FC236}">
                  <a16:creationId xmlns:a16="http://schemas.microsoft.com/office/drawing/2014/main" id="{8DA2E96D-2E60-8640-AAF2-89E820F2EBA9}"/>
                </a:ext>
              </a:extLst>
            </p:cNvPr>
            <p:cNvGrpSpPr/>
            <p:nvPr/>
          </p:nvGrpSpPr>
          <p:grpSpPr>
            <a:xfrm>
              <a:off x="8074550" y="3704479"/>
              <a:ext cx="23708" cy="23671"/>
              <a:chOff x="5394053" y="3323660"/>
              <a:chExt cx="77120" cy="77000"/>
            </a:xfrm>
            <a:solidFill>
              <a:srgbClr val="FBAB18"/>
            </a:solidFill>
          </p:grpSpPr>
          <p:sp>
            <p:nvSpPr>
              <p:cNvPr id="421" name="Freeform: Shape 285">
                <a:extLst>
                  <a:ext uri="{FF2B5EF4-FFF2-40B4-BE49-F238E27FC236}">
                    <a16:creationId xmlns:a16="http://schemas.microsoft.com/office/drawing/2014/main" id="{612E2825-62F3-884C-89B7-6A9C6F929E2A}"/>
                  </a:ext>
                </a:extLst>
              </p:cNvPr>
              <p:cNvSpPr/>
              <p:nvPr/>
            </p:nvSpPr>
            <p:spPr>
              <a:xfrm>
                <a:off x="5394053" y="3323660"/>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0"/>
                      <a:pt x="-836" y="66018"/>
                      <a:pt x="2507" y="62675"/>
                    </a:cubicBezTo>
                    <a:lnTo>
                      <a:pt x="62675" y="2507"/>
                    </a:lnTo>
                    <a:cubicBezTo>
                      <a:pt x="66018" y="-836"/>
                      <a:pt x="71270"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22" name="Freeform: Shape 286">
                <a:extLst>
                  <a:ext uri="{FF2B5EF4-FFF2-40B4-BE49-F238E27FC236}">
                    <a16:creationId xmlns:a16="http://schemas.microsoft.com/office/drawing/2014/main" id="{CA1C2A2A-16EC-2E43-A593-0D18F3676721}"/>
                  </a:ext>
                </a:extLst>
              </p:cNvPr>
              <p:cNvSpPr/>
              <p:nvPr/>
            </p:nvSpPr>
            <p:spPr>
              <a:xfrm>
                <a:off x="5394053" y="3323660"/>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0"/>
                      <a:pt x="74613" y="74613"/>
                    </a:cubicBezTo>
                    <a:cubicBezTo>
                      <a:pt x="72703" y="76046"/>
                      <a:pt x="70316"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grpSp>
          <p:nvGrpSpPr>
            <p:cNvPr id="416" name="Graphic 3">
              <a:extLst>
                <a:ext uri="{FF2B5EF4-FFF2-40B4-BE49-F238E27FC236}">
                  <a16:creationId xmlns:a16="http://schemas.microsoft.com/office/drawing/2014/main" id="{52627EBB-BDFD-A14B-9D42-05310315713F}"/>
                </a:ext>
              </a:extLst>
            </p:cNvPr>
            <p:cNvGrpSpPr/>
            <p:nvPr/>
          </p:nvGrpSpPr>
          <p:grpSpPr>
            <a:xfrm>
              <a:off x="8356697" y="3599077"/>
              <a:ext cx="23855" cy="23671"/>
              <a:chOff x="6311855" y="2980798"/>
              <a:chExt cx="77597" cy="77000"/>
            </a:xfrm>
            <a:solidFill>
              <a:srgbClr val="E3241B">
                <a:alpha val="60000"/>
              </a:srgbClr>
            </a:solidFill>
          </p:grpSpPr>
          <p:sp>
            <p:nvSpPr>
              <p:cNvPr id="419" name="Freeform: Shape 283">
                <a:extLst>
                  <a:ext uri="{FF2B5EF4-FFF2-40B4-BE49-F238E27FC236}">
                    <a16:creationId xmlns:a16="http://schemas.microsoft.com/office/drawing/2014/main" id="{D7EB5091-7C00-4240-9B25-2728BB112324}"/>
                  </a:ext>
                </a:extLst>
              </p:cNvPr>
              <p:cNvSpPr/>
              <p:nvPr/>
            </p:nvSpPr>
            <p:spPr>
              <a:xfrm>
                <a:off x="6312333" y="2980798"/>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4445" y="74613"/>
                    </a:lnTo>
                    <a:cubicBezTo>
                      <a:pt x="12057" y="76523"/>
                      <a:pt x="10147" y="77001"/>
                      <a:pt x="8237"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20" name="Freeform: Shape 284">
                <a:extLst>
                  <a:ext uri="{FF2B5EF4-FFF2-40B4-BE49-F238E27FC236}">
                    <a16:creationId xmlns:a16="http://schemas.microsoft.com/office/drawing/2014/main" id="{9A5A5AB8-50AB-3345-9A20-7C9E4BBE6506}"/>
                  </a:ext>
                </a:extLst>
              </p:cNvPr>
              <p:cNvSpPr/>
              <p:nvPr/>
            </p:nvSpPr>
            <p:spPr>
              <a:xfrm>
                <a:off x="6311855" y="2980798"/>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6"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523"/>
                      <a:pt x="70793" y="77001"/>
                      <a:pt x="68405" y="77001"/>
                    </a:cubicBezTo>
                    <a:close/>
                  </a:path>
                </a:pathLst>
              </a:custGeom>
              <a:grp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sp>
          <p:nvSpPr>
            <p:cNvPr id="417" name="Freeform: Shape 281">
              <a:extLst>
                <a:ext uri="{FF2B5EF4-FFF2-40B4-BE49-F238E27FC236}">
                  <a16:creationId xmlns:a16="http://schemas.microsoft.com/office/drawing/2014/main" id="{1609F5BD-0A20-5B44-9FB6-90F2236C862C}"/>
                </a:ext>
              </a:extLst>
            </p:cNvPr>
            <p:cNvSpPr/>
            <p:nvPr/>
          </p:nvSpPr>
          <p:spPr>
            <a:xfrm>
              <a:off x="8095112" y="3749897"/>
              <a:ext cx="220243" cy="189261"/>
            </a:xfrm>
            <a:custGeom>
              <a:avLst/>
              <a:gdLst>
                <a:gd name="connsiteX0" fmla="*/ 370090 w 370090"/>
                <a:gd name="connsiteY0" fmla="*/ 25309 h 318030"/>
                <a:gd name="connsiteX1" fmla="*/ 366748 w 370090"/>
                <a:gd name="connsiteY1" fmla="*/ 12893 h 318030"/>
                <a:gd name="connsiteX2" fmla="*/ 344304 w 370090"/>
                <a:gd name="connsiteY2" fmla="*/ 0 h 318030"/>
                <a:gd name="connsiteX3" fmla="*/ 25795 w 370090"/>
                <a:gd name="connsiteY3" fmla="*/ 0 h 318030"/>
                <a:gd name="connsiteX4" fmla="*/ 3352 w 370090"/>
                <a:gd name="connsiteY4" fmla="*/ 12893 h 318030"/>
                <a:gd name="connsiteX5" fmla="*/ 3829 w 370090"/>
                <a:gd name="connsiteY5" fmla="*/ 38679 h 318030"/>
                <a:gd name="connsiteX6" fmla="*/ 162845 w 370090"/>
                <a:gd name="connsiteY6" fmla="*/ 305615 h 318030"/>
                <a:gd name="connsiteX7" fmla="*/ 184811 w 370090"/>
                <a:gd name="connsiteY7" fmla="*/ 318031 h 318030"/>
                <a:gd name="connsiteX8" fmla="*/ 206777 w 370090"/>
                <a:gd name="connsiteY8" fmla="*/ 305615 h 318030"/>
                <a:gd name="connsiteX9" fmla="*/ 365792 w 370090"/>
                <a:gd name="connsiteY9" fmla="*/ 38679 h 318030"/>
                <a:gd name="connsiteX10" fmla="*/ 370090 w 370090"/>
                <a:gd name="connsiteY10" fmla="*/ 25309 h 318030"/>
                <a:gd name="connsiteX11" fmla="*/ 14812 w 370090"/>
                <a:gd name="connsiteY11" fmla="*/ 25309 h 318030"/>
                <a:gd name="connsiteX12" fmla="*/ 16245 w 370090"/>
                <a:gd name="connsiteY12" fmla="*/ 19578 h 318030"/>
                <a:gd name="connsiteX13" fmla="*/ 25795 w 370090"/>
                <a:gd name="connsiteY13" fmla="*/ 13848 h 318030"/>
                <a:gd name="connsiteX14" fmla="*/ 344304 w 370090"/>
                <a:gd name="connsiteY14" fmla="*/ 13848 h 318030"/>
                <a:gd name="connsiteX15" fmla="*/ 353854 w 370090"/>
                <a:gd name="connsiteY15" fmla="*/ 19578 h 318030"/>
                <a:gd name="connsiteX16" fmla="*/ 353854 w 370090"/>
                <a:gd name="connsiteY16" fmla="*/ 31039 h 318030"/>
                <a:gd name="connsiteX17" fmla="*/ 194839 w 370090"/>
                <a:gd name="connsiteY17" fmla="*/ 297975 h 318030"/>
                <a:gd name="connsiteX18" fmla="*/ 185288 w 370090"/>
                <a:gd name="connsiteY18" fmla="*/ 303228 h 318030"/>
                <a:gd name="connsiteX19" fmla="*/ 175738 w 370090"/>
                <a:gd name="connsiteY19" fmla="*/ 297975 h 318030"/>
                <a:gd name="connsiteX20" fmla="*/ 175738 w 370090"/>
                <a:gd name="connsiteY20" fmla="*/ 297975 h 318030"/>
                <a:gd name="connsiteX21" fmla="*/ 16722 w 370090"/>
                <a:gd name="connsiteY21" fmla="*/ 31039 h 318030"/>
                <a:gd name="connsiteX22" fmla="*/ 14812 w 370090"/>
                <a:gd name="connsiteY22" fmla="*/ 25309 h 31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90" h="318030">
                  <a:moveTo>
                    <a:pt x="370090" y="25309"/>
                  </a:moveTo>
                  <a:cubicBezTo>
                    <a:pt x="370090" y="21011"/>
                    <a:pt x="369135" y="16713"/>
                    <a:pt x="366748" y="12893"/>
                  </a:cubicBezTo>
                  <a:cubicBezTo>
                    <a:pt x="361972" y="4775"/>
                    <a:pt x="353854" y="0"/>
                    <a:pt x="344304" y="0"/>
                  </a:cubicBezTo>
                  <a:lnTo>
                    <a:pt x="25795" y="0"/>
                  </a:lnTo>
                  <a:cubicBezTo>
                    <a:pt x="16245" y="0"/>
                    <a:pt x="8127" y="4775"/>
                    <a:pt x="3352" y="12893"/>
                  </a:cubicBezTo>
                  <a:cubicBezTo>
                    <a:pt x="-1424" y="21011"/>
                    <a:pt x="-946" y="30561"/>
                    <a:pt x="3829" y="38679"/>
                  </a:cubicBezTo>
                  <a:lnTo>
                    <a:pt x="162845" y="305615"/>
                  </a:lnTo>
                  <a:cubicBezTo>
                    <a:pt x="167620" y="313256"/>
                    <a:pt x="175738" y="318031"/>
                    <a:pt x="184811" y="318031"/>
                  </a:cubicBezTo>
                  <a:cubicBezTo>
                    <a:pt x="193884" y="318031"/>
                    <a:pt x="202002" y="313256"/>
                    <a:pt x="206777" y="305615"/>
                  </a:cubicBezTo>
                  <a:lnTo>
                    <a:pt x="365792" y="38679"/>
                  </a:lnTo>
                  <a:cubicBezTo>
                    <a:pt x="368658" y="34382"/>
                    <a:pt x="370090" y="29606"/>
                    <a:pt x="370090" y="25309"/>
                  </a:cubicBezTo>
                  <a:close/>
                  <a:moveTo>
                    <a:pt x="14812" y="25309"/>
                  </a:moveTo>
                  <a:cubicBezTo>
                    <a:pt x="14812" y="23399"/>
                    <a:pt x="15290" y="21489"/>
                    <a:pt x="16245" y="19578"/>
                  </a:cubicBezTo>
                  <a:cubicBezTo>
                    <a:pt x="18155" y="16236"/>
                    <a:pt x="21975" y="13848"/>
                    <a:pt x="25795" y="13848"/>
                  </a:cubicBezTo>
                  <a:lnTo>
                    <a:pt x="344304" y="13848"/>
                  </a:lnTo>
                  <a:cubicBezTo>
                    <a:pt x="348602" y="13848"/>
                    <a:pt x="351944" y="15758"/>
                    <a:pt x="353854" y="19578"/>
                  </a:cubicBezTo>
                  <a:cubicBezTo>
                    <a:pt x="355765" y="22921"/>
                    <a:pt x="355765" y="27219"/>
                    <a:pt x="353854" y="31039"/>
                  </a:cubicBezTo>
                  <a:lnTo>
                    <a:pt x="194839" y="297975"/>
                  </a:lnTo>
                  <a:cubicBezTo>
                    <a:pt x="192929" y="301318"/>
                    <a:pt x="189108" y="303228"/>
                    <a:pt x="185288" y="303228"/>
                  </a:cubicBezTo>
                  <a:cubicBezTo>
                    <a:pt x="181468" y="303228"/>
                    <a:pt x="177648" y="301318"/>
                    <a:pt x="175738" y="297975"/>
                  </a:cubicBezTo>
                  <a:cubicBezTo>
                    <a:pt x="175738" y="297975"/>
                    <a:pt x="175738" y="297975"/>
                    <a:pt x="175738" y="297975"/>
                  </a:cubicBezTo>
                  <a:lnTo>
                    <a:pt x="16722" y="31039"/>
                  </a:lnTo>
                  <a:cubicBezTo>
                    <a:pt x="15290" y="29129"/>
                    <a:pt x="14812" y="27219"/>
                    <a:pt x="14812" y="25309"/>
                  </a:cubicBezTo>
                  <a:close/>
                </a:path>
              </a:pathLst>
            </a:custGeom>
            <a:solidFill>
              <a:srgbClr val="FBAB18"/>
            </a:solidFill>
            <a:ln w="4775"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pic>
          <p:nvPicPr>
            <p:cNvPr id="418" name="Picture 417" descr="A hand holding a black umbrella&#10;&#10;Description automatically generated">
              <a:extLst>
                <a:ext uri="{FF2B5EF4-FFF2-40B4-BE49-F238E27FC236}">
                  <a16:creationId xmlns:a16="http://schemas.microsoft.com/office/drawing/2014/main" id="{7AE5D7AE-C966-B648-8C32-361D3C00D6AB}"/>
                </a:ext>
              </a:extLst>
            </p:cNvPr>
            <p:cNvPicPr>
              <a:picLocks noChangeAspect="1"/>
            </p:cNvPicPr>
            <p:nvPr/>
          </p:nvPicPr>
          <p:blipFill>
            <a:blip r:embed="rId18" cstate="screen">
              <a:duotone>
                <a:prstClr val="black"/>
                <a:srgbClr val="E3241B">
                  <a:tint val="45000"/>
                  <a:satMod val="400000"/>
                </a:srgbClr>
              </a:duotone>
              <a:extLst>
                <a:ext uri="{28A0092B-C50C-407E-A947-70E740481C1C}">
                  <a14:useLocalDpi xmlns:a14="http://schemas.microsoft.com/office/drawing/2010/main"/>
                </a:ext>
              </a:extLst>
            </a:blip>
            <a:srcRect/>
            <a:stretch>
              <a:fillRect/>
            </a:stretch>
          </p:blipFill>
          <p:spPr>
            <a:xfrm>
              <a:off x="7604390" y="3340161"/>
              <a:ext cx="512513" cy="512512"/>
            </a:xfrm>
            <a:custGeom>
              <a:avLst/>
              <a:gdLst>
                <a:gd name="connsiteX0" fmla="*/ 19525 w 512513"/>
                <a:gd name="connsiteY0" fmla="*/ 0 h 512512"/>
                <a:gd name="connsiteX1" fmla="*/ 491924 w 512513"/>
                <a:gd name="connsiteY1" fmla="*/ 0 h 512512"/>
                <a:gd name="connsiteX2" fmla="*/ 506457 w 512513"/>
                <a:gd name="connsiteY2" fmla="*/ 35085 h 512512"/>
                <a:gd name="connsiteX3" fmla="*/ 35085 w 512513"/>
                <a:gd name="connsiteY3" fmla="*/ 506456 h 512512"/>
                <a:gd name="connsiteX4" fmla="*/ 0 w 512513"/>
                <a:gd name="connsiteY4" fmla="*/ 491923 h 512512"/>
                <a:gd name="connsiteX5" fmla="*/ 0 w 512513"/>
                <a:gd name="connsiteY5" fmla="*/ 19524 h 512512"/>
                <a:gd name="connsiteX6" fmla="*/ 19525 w 512513"/>
                <a:gd name="connsiteY6" fmla="*/ 0 h 51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13" h="512512">
                  <a:moveTo>
                    <a:pt x="19525" y="0"/>
                  </a:moveTo>
                  <a:lnTo>
                    <a:pt x="491924" y="0"/>
                  </a:lnTo>
                  <a:cubicBezTo>
                    <a:pt x="510274" y="0"/>
                    <a:pt x="519375" y="22167"/>
                    <a:pt x="506457" y="35085"/>
                  </a:cubicBezTo>
                  <a:lnTo>
                    <a:pt x="35085" y="506456"/>
                  </a:lnTo>
                  <a:cubicBezTo>
                    <a:pt x="22167" y="519374"/>
                    <a:pt x="0" y="510273"/>
                    <a:pt x="0" y="491923"/>
                  </a:cubicBezTo>
                  <a:lnTo>
                    <a:pt x="0" y="19524"/>
                  </a:lnTo>
                  <a:cubicBezTo>
                    <a:pt x="0" y="8661"/>
                    <a:pt x="8808" y="0"/>
                    <a:pt x="19525" y="0"/>
                  </a:cubicBezTo>
                  <a:close/>
                </a:path>
              </a:pathLst>
            </a:custGeom>
          </p:spPr>
        </p:pic>
      </p:grpSp>
      <p:grpSp>
        <p:nvGrpSpPr>
          <p:cNvPr id="5" name="Group 4">
            <a:extLst>
              <a:ext uri="{FF2B5EF4-FFF2-40B4-BE49-F238E27FC236}">
                <a16:creationId xmlns:a16="http://schemas.microsoft.com/office/drawing/2014/main" id="{F018192E-0E09-5F4F-BAE0-15608053F535}"/>
              </a:ext>
            </a:extLst>
          </p:cNvPr>
          <p:cNvGrpSpPr/>
          <p:nvPr/>
        </p:nvGrpSpPr>
        <p:grpSpPr>
          <a:xfrm>
            <a:off x="897228" y="1688604"/>
            <a:ext cx="668445" cy="632483"/>
            <a:chOff x="545733" y="1576878"/>
            <a:chExt cx="668445" cy="632483"/>
          </a:xfrm>
        </p:grpSpPr>
        <p:sp>
          <p:nvSpPr>
            <p:cNvPr id="320" name="Oval 319">
              <a:extLst>
                <a:ext uri="{FF2B5EF4-FFF2-40B4-BE49-F238E27FC236}">
                  <a16:creationId xmlns:a16="http://schemas.microsoft.com/office/drawing/2014/main" id="{B5730C1B-9214-EB43-9D2A-B1CC53174F6B}"/>
                </a:ext>
              </a:extLst>
            </p:cNvPr>
            <p:cNvSpPr/>
            <p:nvPr/>
          </p:nvSpPr>
          <p:spPr>
            <a:xfrm>
              <a:off x="554272" y="1680494"/>
              <a:ext cx="528867" cy="528867"/>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pic>
          <p:nvPicPr>
            <p:cNvPr id="435" name="Picture 434" descr="A computer sitting on top of a table&#10;&#10;Description automatically generated">
              <a:extLst>
                <a:ext uri="{FF2B5EF4-FFF2-40B4-BE49-F238E27FC236}">
                  <a16:creationId xmlns:a16="http://schemas.microsoft.com/office/drawing/2014/main" id="{EBB105CB-7B56-DD4B-A2C9-30AB41502E93}"/>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45733" y="1576878"/>
              <a:ext cx="572755" cy="615206"/>
            </a:xfrm>
            <a:prstGeom prst="rect">
              <a:avLst/>
            </a:prstGeom>
          </p:spPr>
        </p:pic>
        <p:sp>
          <p:nvSpPr>
            <p:cNvPr id="436" name="Isosceles Triangle 49">
              <a:extLst>
                <a:ext uri="{FF2B5EF4-FFF2-40B4-BE49-F238E27FC236}">
                  <a16:creationId xmlns:a16="http://schemas.microsoft.com/office/drawing/2014/main" id="{0B815485-B7F7-284A-9494-17D93BC8F1F2}"/>
                </a:ext>
              </a:extLst>
            </p:cNvPr>
            <p:cNvSpPr/>
            <p:nvPr/>
          </p:nvSpPr>
          <p:spPr>
            <a:xfrm>
              <a:off x="986332" y="1722484"/>
              <a:ext cx="227846" cy="19872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6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mn-lt"/>
                <a:ea typeface="+mn-ea"/>
                <a:cs typeface="+mn-cs"/>
              </a:endParaRPr>
            </a:p>
          </p:txBody>
        </p:sp>
      </p:grpSp>
      <p:grpSp>
        <p:nvGrpSpPr>
          <p:cNvPr id="437" name="Group 436">
            <a:extLst>
              <a:ext uri="{FF2B5EF4-FFF2-40B4-BE49-F238E27FC236}">
                <a16:creationId xmlns:a16="http://schemas.microsoft.com/office/drawing/2014/main" id="{82E39C94-AAAB-E74F-9E09-8AC1800A4352}"/>
              </a:ext>
            </a:extLst>
          </p:cNvPr>
          <p:cNvGrpSpPr/>
          <p:nvPr/>
        </p:nvGrpSpPr>
        <p:grpSpPr>
          <a:xfrm>
            <a:off x="5307997" y="3107025"/>
            <a:ext cx="977802" cy="787672"/>
            <a:chOff x="5205413" y="3058505"/>
            <a:chExt cx="1163954" cy="937628"/>
          </a:xfrm>
        </p:grpSpPr>
        <p:grpSp>
          <p:nvGrpSpPr>
            <p:cNvPr id="438" name="Graphic 1">
              <a:extLst>
                <a:ext uri="{FF2B5EF4-FFF2-40B4-BE49-F238E27FC236}">
                  <a16:creationId xmlns:a16="http://schemas.microsoft.com/office/drawing/2014/main" id="{08D7DD88-5925-3A4B-8BFF-1952EBE1C827}"/>
                </a:ext>
              </a:extLst>
            </p:cNvPr>
            <p:cNvGrpSpPr/>
            <p:nvPr/>
          </p:nvGrpSpPr>
          <p:grpSpPr>
            <a:xfrm>
              <a:off x="5427008" y="3146016"/>
              <a:ext cx="706742" cy="706902"/>
              <a:chOff x="3453884" y="801171"/>
              <a:chExt cx="2092880" cy="2093356"/>
            </a:xfrm>
            <a:solidFill>
              <a:srgbClr val="E3241B"/>
            </a:solidFill>
          </p:grpSpPr>
          <p:sp>
            <p:nvSpPr>
              <p:cNvPr id="444" name="Freeform: Shape 315">
                <a:extLst>
                  <a:ext uri="{FF2B5EF4-FFF2-40B4-BE49-F238E27FC236}">
                    <a16:creationId xmlns:a16="http://schemas.microsoft.com/office/drawing/2014/main" id="{50559EF0-49F5-2048-B001-E1A40FAD1725}"/>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45" name="Freeform: Shape 316">
                <a:extLst>
                  <a:ext uri="{FF2B5EF4-FFF2-40B4-BE49-F238E27FC236}">
                    <a16:creationId xmlns:a16="http://schemas.microsoft.com/office/drawing/2014/main" id="{FF356B18-DA7D-584A-80A5-0986B5ED7277}"/>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46" name="Freeform: Shape 317">
                <a:extLst>
                  <a:ext uri="{FF2B5EF4-FFF2-40B4-BE49-F238E27FC236}">
                    <a16:creationId xmlns:a16="http://schemas.microsoft.com/office/drawing/2014/main" id="{76F89875-61F5-BD4F-8885-C3DA299AEAC1}"/>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47" name="Freeform: Shape 318">
                <a:extLst>
                  <a:ext uri="{FF2B5EF4-FFF2-40B4-BE49-F238E27FC236}">
                    <a16:creationId xmlns:a16="http://schemas.microsoft.com/office/drawing/2014/main" id="{58B57114-2363-BB4A-8DD6-F33BA0CC8FD1}"/>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48" name="Freeform: Shape 319">
                <a:extLst>
                  <a:ext uri="{FF2B5EF4-FFF2-40B4-BE49-F238E27FC236}">
                    <a16:creationId xmlns:a16="http://schemas.microsoft.com/office/drawing/2014/main" id="{711CAEEA-5279-774E-8118-09FDB0FF9520}"/>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49" name="Freeform: Shape 320">
                <a:extLst>
                  <a:ext uri="{FF2B5EF4-FFF2-40B4-BE49-F238E27FC236}">
                    <a16:creationId xmlns:a16="http://schemas.microsoft.com/office/drawing/2014/main" id="{12A928ED-6CC3-DD4D-A950-B33B3C13A906}"/>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0" name="Freeform: Shape 321">
                <a:extLst>
                  <a:ext uri="{FF2B5EF4-FFF2-40B4-BE49-F238E27FC236}">
                    <a16:creationId xmlns:a16="http://schemas.microsoft.com/office/drawing/2014/main" id="{5967FE8F-42FB-A64F-AFCA-C0D9CAB3DBE2}"/>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1" name="Freeform: Shape 323">
                <a:extLst>
                  <a:ext uri="{FF2B5EF4-FFF2-40B4-BE49-F238E27FC236}">
                    <a16:creationId xmlns:a16="http://schemas.microsoft.com/office/drawing/2014/main" id="{2A836712-A1F4-B741-9B88-8E48243878B9}"/>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2" name="Freeform: Shape 324">
                <a:extLst>
                  <a:ext uri="{FF2B5EF4-FFF2-40B4-BE49-F238E27FC236}">
                    <a16:creationId xmlns:a16="http://schemas.microsoft.com/office/drawing/2014/main" id="{830C8BA2-08D7-4A4D-8FF8-55675B00C454}"/>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3" name="Freeform: Shape 327">
                <a:extLst>
                  <a:ext uri="{FF2B5EF4-FFF2-40B4-BE49-F238E27FC236}">
                    <a16:creationId xmlns:a16="http://schemas.microsoft.com/office/drawing/2014/main" id="{2F722639-E06C-B94C-9983-E483C4FE0CC9}"/>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4" name="Freeform: Shape 328">
                <a:extLst>
                  <a:ext uri="{FF2B5EF4-FFF2-40B4-BE49-F238E27FC236}">
                    <a16:creationId xmlns:a16="http://schemas.microsoft.com/office/drawing/2014/main" id="{F8F1CC4A-FBB5-2349-AB2F-65D0AD82E811}"/>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5" name="Freeform: Shape 329">
                <a:extLst>
                  <a:ext uri="{FF2B5EF4-FFF2-40B4-BE49-F238E27FC236}">
                    <a16:creationId xmlns:a16="http://schemas.microsoft.com/office/drawing/2014/main" id="{4AD64A5F-290B-B541-B1BE-82D2377EB7F9}"/>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6" name="Freeform: Shape 330">
                <a:extLst>
                  <a:ext uri="{FF2B5EF4-FFF2-40B4-BE49-F238E27FC236}">
                    <a16:creationId xmlns:a16="http://schemas.microsoft.com/office/drawing/2014/main" id="{00BA6425-66C1-4749-AA9E-34F97885B8F9}"/>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7" name="Freeform: Shape 331">
                <a:extLst>
                  <a:ext uri="{FF2B5EF4-FFF2-40B4-BE49-F238E27FC236}">
                    <a16:creationId xmlns:a16="http://schemas.microsoft.com/office/drawing/2014/main" id="{322495D8-05F9-FA4B-A757-95D6985EBFC2}"/>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8" name="Freeform: Shape 332">
                <a:extLst>
                  <a:ext uri="{FF2B5EF4-FFF2-40B4-BE49-F238E27FC236}">
                    <a16:creationId xmlns:a16="http://schemas.microsoft.com/office/drawing/2014/main" id="{FB90C572-1131-F749-A634-437FC3C91EEF}"/>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59" name="Freeform: Shape 333">
                <a:extLst>
                  <a:ext uri="{FF2B5EF4-FFF2-40B4-BE49-F238E27FC236}">
                    <a16:creationId xmlns:a16="http://schemas.microsoft.com/office/drawing/2014/main" id="{3321C396-ABE0-384B-8E8B-F117A26C5DCE}"/>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0" name="Freeform: Shape 334">
                <a:extLst>
                  <a:ext uri="{FF2B5EF4-FFF2-40B4-BE49-F238E27FC236}">
                    <a16:creationId xmlns:a16="http://schemas.microsoft.com/office/drawing/2014/main" id="{F96059C9-4F89-1046-9A2C-4FFF220291EF}"/>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1" name="Freeform: Shape 335">
                <a:extLst>
                  <a:ext uri="{FF2B5EF4-FFF2-40B4-BE49-F238E27FC236}">
                    <a16:creationId xmlns:a16="http://schemas.microsoft.com/office/drawing/2014/main" id="{F59D5BD5-4EDE-B84A-8709-1CF3173DEC85}"/>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2" name="Freeform: Shape 336">
                <a:extLst>
                  <a:ext uri="{FF2B5EF4-FFF2-40B4-BE49-F238E27FC236}">
                    <a16:creationId xmlns:a16="http://schemas.microsoft.com/office/drawing/2014/main" id="{F83D9E8C-7C50-F443-BCFC-43838D91EB30}"/>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3" name="Freeform: Shape 337">
                <a:extLst>
                  <a:ext uri="{FF2B5EF4-FFF2-40B4-BE49-F238E27FC236}">
                    <a16:creationId xmlns:a16="http://schemas.microsoft.com/office/drawing/2014/main" id="{3809F347-7C94-834E-AE8B-7CC088375863}"/>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4" name="Freeform: Shape 338">
                <a:extLst>
                  <a:ext uri="{FF2B5EF4-FFF2-40B4-BE49-F238E27FC236}">
                    <a16:creationId xmlns:a16="http://schemas.microsoft.com/office/drawing/2014/main" id="{60382027-426A-A04C-A3D7-8C1F8FF0341D}"/>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sp>
            <p:nvSpPr>
              <p:cNvPr id="465" name="Freeform: Shape 339">
                <a:extLst>
                  <a:ext uri="{FF2B5EF4-FFF2-40B4-BE49-F238E27FC236}">
                    <a16:creationId xmlns:a16="http://schemas.microsoft.com/office/drawing/2014/main" id="{40ABE97E-7AEE-C148-A88E-995169FBFE4D}"/>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grpFill/>
              <a:ln w="4763" cap="flat">
                <a:noFill/>
                <a:prstDash val="solid"/>
                <a:miter/>
              </a:ln>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ysClr val="windowText" lastClr="000000"/>
                  </a:solidFill>
                  <a:effectLst/>
                  <a:uLnTx/>
                  <a:uFillTx/>
                  <a:latin typeface="+mn-lt"/>
                  <a:ea typeface="ＭＳ Ｐゴシック" charset="0"/>
                </a:endParaRPr>
              </a:p>
            </p:txBody>
          </p:sp>
        </p:grpSp>
        <p:pic>
          <p:nvPicPr>
            <p:cNvPr id="439" name="Picture 438" descr="A picture containing table&#10;&#10;Description automatically generated">
              <a:extLst>
                <a:ext uri="{FF2B5EF4-FFF2-40B4-BE49-F238E27FC236}">
                  <a16:creationId xmlns:a16="http://schemas.microsoft.com/office/drawing/2014/main" id="{2FFE898F-708E-444D-9483-8376F1E3889D}"/>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5205413" y="3058505"/>
              <a:ext cx="1163954" cy="937628"/>
            </a:xfrm>
            <a:prstGeom prst="rect">
              <a:avLst/>
            </a:prstGeom>
          </p:spPr>
        </p:pic>
        <p:sp>
          <p:nvSpPr>
            <p:cNvPr id="440" name="Oval 439">
              <a:extLst>
                <a:ext uri="{FF2B5EF4-FFF2-40B4-BE49-F238E27FC236}">
                  <a16:creationId xmlns:a16="http://schemas.microsoft.com/office/drawing/2014/main" id="{74BAEB06-1C8E-7940-B703-20E142FEE2E1}"/>
                </a:ext>
              </a:extLst>
            </p:cNvPr>
            <p:cNvSpPr/>
            <p:nvPr/>
          </p:nvSpPr>
          <p:spPr>
            <a:xfrm>
              <a:off x="5596752" y="3252597"/>
              <a:ext cx="474465" cy="474464"/>
            </a:xfrm>
            <a:prstGeom prst="ellipse">
              <a:avLst/>
            </a:prstGeom>
            <a:solidFill>
              <a:srgbClr val="FBAB18">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441" name="Oval 440">
              <a:extLst>
                <a:ext uri="{FF2B5EF4-FFF2-40B4-BE49-F238E27FC236}">
                  <a16:creationId xmlns:a16="http://schemas.microsoft.com/office/drawing/2014/main" id="{648E4C3F-7A3A-6747-B12C-218D8F2B7C50}"/>
                </a:ext>
              </a:extLst>
            </p:cNvPr>
            <p:cNvSpPr/>
            <p:nvPr/>
          </p:nvSpPr>
          <p:spPr>
            <a:xfrm>
              <a:off x="5470455" y="3085664"/>
              <a:ext cx="186490" cy="186490"/>
            </a:xfrm>
            <a:prstGeom prst="ellipse">
              <a:avLst/>
            </a:prstGeom>
            <a:solidFill>
              <a:srgbClr val="E3241B">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442" name="Oval 441">
              <a:extLst>
                <a:ext uri="{FF2B5EF4-FFF2-40B4-BE49-F238E27FC236}">
                  <a16:creationId xmlns:a16="http://schemas.microsoft.com/office/drawing/2014/main" id="{0E2E9A8A-7778-684F-8B6E-171E3928BA08}"/>
                </a:ext>
              </a:extLst>
            </p:cNvPr>
            <p:cNvSpPr/>
            <p:nvPr/>
          </p:nvSpPr>
          <p:spPr>
            <a:xfrm>
              <a:off x="5357862" y="3321488"/>
              <a:ext cx="314974" cy="313370"/>
            </a:xfrm>
            <a:prstGeom prst="ellipse">
              <a:avLst/>
            </a:prstGeom>
            <a:solidFill>
              <a:srgbClr val="0D274D">
                <a:alpha val="68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sp>
          <p:nvSpPr>
            <p:cNvPr id="443" name="Oval 442">
              <a:extLst>
                <a:ext uri="{FF2B5EF4-FFF2-40B4-BE49-F238E27FC236}">
                  <a16:creationId xmlns:a16="http://schemas.microsoft.com/office/drawing/2014/main" id="{9115BCDC-29E6-B44D-881D-B2C96C95A72E}"/>
                </a:ext>
              </a:extLst>
            </p:cNvPr>
            <p:cNvSpPr/>
            <p:nvPr/>
          </p:nvSpPr>
          <p:spPr>
            <a:xfrm>
              <a:off x="5572255" y="3892658"/>
              <a:ext cx="96962" cy="96962"/>
            </a:xfrm>
            <a:prstGeom prst="ellipse">
              <a:avLst/>
            </a:prstGeom>
            <a:solidFill>
              <a:srgbClr val="FBAB18">
                <a:alpha val="60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mn-lt"/>
                <a:ea typeface="+mn-ea"/>
                <a:cs typeface="+mn-cs"/>
              </a:endParaRPr>
            </a:p>
          </p:txBody>
        </p:sp>
      </p:grpSp>
      <p:sp>
        <p:nvSpPr>
          <p:cNvPr id="2" name="Title 1">
            <a:extLst>
              <a:ext uri="{FF2B5EF4-FFF2-40B4-BE49-F238E27FC236}">
                <a16:creationId xmlns:a16="http://schemas.microsoft.com/office/drawing/2014/main" id="{40D21EF8-2715-6B48-8C54-6DA01AFC8EAE}"/>
              </a:ext>
            </a:extLst>
          </p:cNvPr>
          <p:cNvSpPr>
            <a:spLocks noGrp="1"/>
          </p:cNvSpPr>
          <p:nvPr>
            <p:ph type="title"/>
          </p:nvPr>
        </p:nvSpPr>
        <p:spPr>
          <a:xfrm>
            <a:off x="437766" y="341313"/>
            <a:ext cx="8210934" cy="731837"/>
          </a:xfrm>
        </p:spPr>
        <p:txBody>
          <a:bodyPr/>
          <a:lstStyle/>
          <a:p>
            <a:r>
              <a:rPr lang="en-US" dirty="0"/>
              <a:t>Increasing Demands on Security Teams</a:t>
            </a:r>
          </a:p>
        </p:txBody>
      </p:sp>
      <p:sp>
        <p:nvSpPr>
          <p:cNvPr id="231" name="Rectangle 230">
            <a:hlinkClick r:id="rId21"/>
            <a:extLst>
              <a:ext uri="{FF2B5EF4-FFF2-40B4-BE49-F238E27FC236}">
                <a16:creationId xmlns:a16="http://schemas.microsoft.com/office/drawing/2014/main" id="{4CCB225A-3BCC-4A47-93D1-8D6D69A9CE02}"/>
              </a:ext>
            </a:extLst>
          </p:cNvPr>
          <p:cNvSpPr/>
          <p:nvPr/>
        </p:nvSpPr>
        <p:spPr>
          <a:xfrm>
            <a:off x="5853667" y="4696897"/>
            <a:ext cx="2654894" cy="307777"/>
          </a:xfrm>
          <a:prstGeom prst="rect">
            <a:avLst/>
          </a:prstGeom>
        </p:spPr>
        <p:txBody>
          <a:bodyPr wrap="none">
            <a:spAutoFit/>
          </a:bodyPr>
          <a:lstStyle/>
          <a:p>
            <a:r>
              <a:rPr lang="en-US" sz="1400" dirty="0">
                <a:solidFill>
                  <a:schemeClr val="accent2"/>
                </a:solidFill>
                <a:latin typeface="+mj-lt"/>
                <a:hlinkClick r:id="rId22"/>
              </a:rPr>
              <a:t>cisco.com/go/</a:t>
            </a:r>
            <a:r>
              <a:rPr lang="en-US" sz="1400" dirty="0" err="1">
                <a:solidFill>
                  <a:schemeClr val="accent2"/>
                </a:solidFill>
                <a:latin typeface="+mj-lt"/>
                <a:hlinkClick r:id="rId22"/>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1133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CCF5D-596E-6248-8B53-B84CDE491C97}"/>
              </a:ext>
            </a:extLst>
          </p:cNvPr>
          <p:cNvSpPr>
            <a:spLocks noGrp="1"/>
          </p:cNvSpPr>
          <p:nvPr>
            <p:ph type="title"/>
          </p:nvPr>
        </p:nvSpPr>
        <p:spPr/>
        <p:txBody>
          <a:bodyPr/>
          <a:lstStyle/>
          <a:p>
            <a:r>
              <a:rPr lang="en-US" dirty="0"/>
              <a:t>Don’t Multiply… Simplify</a:t>
            </a:r>
          </a:p>
        </p:txBody>
      </p:sp>
      <p:sp>
        <p:nvSpPr>
          <p:cNvPr id="4" name="Text Placeholder 3">
            <a:extLst>
              <a:ext uri="{FF2B5EF4-FFF2-40B4-BE49-F238E27FC236}">
                <a16:creationId xmlns:a16="http://schemas.microsoft.com/office/drawing/2014/main" id="{9439ADF6-1954-5049-B3BE-7B83EF464092}"/>
              </a:ext>
            </a:extLst>
          </p:cNvPr>
          <p:cNvSpPr>
            <a:spLocks noGrp="1"/>
          </p:cNvSpPr>
          <p:nvPr>
            <p:ph type="body" sz="quarter" idx="11"/>
          </p:nvPr>
        </p:nvSpPr>
        <p:spPr>
          <a:xfrm>
            <a:off x="437766" y="1137274"/>
            <a:ext cx="8348472" cy="451583"/>
          </a:xfrm>
        </p:spPr>
        <p:txBody>
          <a:bodyPr/>
          <a:lstStyle/>
          <a:p>
            <a:pPr marL="7937" indent="0">
              <a:buNone/>
            </a:pPr>
            <a:r>
              <a:rPr lang="en-US" dirty="0">
                <a:solidFill>
                  <a:schemeClr val="accent2"/>
                </a:solidFill>
              </a:rPr>
              <a:t>Adding new security technologies can compound challenges</a:t>
            </a:r>
          </a:p>
        </p:txBody>
      </p:sp>
      <p:grpSp>
        <p:nvGrpSpPr>
          <p:cNvPr id="79" name="Group 78">
            <a:extLst>
              <a:ext uri="{FF2B5EF4-FFF2-40B4-BE49-F238E27FC236}">
                <a16:creationId xmlns:a16="http://schemas.microsoft.com/office/drawing/2014/main" id="{16EA2348-B5BB-544B-9611-0E532764B837}"/>
              </a:ext>
            </a:extLst>
          </p:cNvPr>
          <p:cNvGrpSpPr/>
          <p:nvPr/>
        </p:nvGrpSpPr>
        <p:grpSpPr>
          <a:xfrm>
            <a:off x="6472261" y="2944047"/>
            <a:ext cx="2995561" cy="2342585"/>
            <a:chOff x="5573040" y="2264284"/>
            <a:chExt cx="3570960" cy="2792555"/>
          </a:xfrm>
        </p:grpSpPr>
        <p:sp>
          <p:nvSpPr>
            <p:cNvPr id="80" name="Oval 79">
              <a:extLst>
                <a:ext uri="{FF2B5EF4-FFF2-40B4-BE49-F238E27FC236}">
                  <a16:creationId xmlns:a16="http://schemas.microsoft.com/office/drawing/2014/main" id="{1B46C468-F27F-C040-A680-FA5B9A7B0523}"/>
                </a:ext>
              </a:extLst>
            </p:cNvPr>
            <p:cNvSpPr/>
            <p:nvPr/>
          </p:nvSpPr>
          <p:spPr>
            <a:xfrm>
              <a:off x="6093150" y="2535186"/>
              <a:ext cx="2250750" cy="2250750"/>
            </a:xfrm>
            <a:prstGeom prst="ellipse">
              <a:avLst/>
            </a:prstGeom>
            <a:solidFill>
              <a:srgbClr val="00BCEB">
                <a:alpha val="80000"/>
              </a:srgbClr>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81" name="Arc 80">
              <a:extLst>
                <a:ext uri="{FF2B5EF4-FFF2-40B4-BE49-F238E27FC236}">
                  <a16:creationId xmlns:a16="http://schemas.microsoft.com/office/drawing/2014/main" id="{651BB371-F9E4-DD47-8283-9E9A9A32B364}"/>
                </a:ext>
              </a:extLst>
            </p:cNvPr>
            <p:cNvSpPr/>
            <p:nvPr/>
          </p:nvSpPr>
          <p:spPr>
            <a:xfrm rot="16200000" flipH="1">
              <a:off x="5822248" y="2264164"/>
              <a:ext cx="2792555" cy="2792795"/>
            </a:xfrm>
            <a:prstGeom prst="arc">
              <a:avLst>
                <a:gd name="adj1" fmla="val 8195928"/>
                <a:gd name="adj2" fmla="val 18436566"/>
              </a:avLst>
            </a:prstGeom>
            <a:noFill/>
            <a:ln w="9525" cap="flat">
              <a:solidFill>
                <a:srgbClr val="00BCE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82" name="Freeform: Shape 64">
              <a:extLst>
                <a:ext uri="{FF2B5EF4-FFF2-40B4-BE49-F238E27FC236}">
                  <a16:creationId xmlns:a16="http://schemas.microsoft.com/office/drawing/2014/main" id="{25003E6E-8E13-AA46-8DFF-01BDC158C581}"/>
                </a:ext>
              </a:extLst>
            </p:cNvPr>
            <p:cNvSpPr/>
            <p:nvPr/>
          </p:nvSpPr>
          <p:spPr>
            <a:xfrm rot="18328214">
              <a:off x="5854073" y="3793125"/>
              <a:ext cx="1003098" cy="1003098"/>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alpha val="90000"/>
              </a:srgbClr>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83" name="Oval 82">
              <a:extLst>
                <a:ext uri="{FF2B5EF4-FFF2-40B4-BE49-F238E27FC236}">
                  <a16:creationId xmlns:a16="http://schemas.microsoft.com/office/drawing/2014/main" id="{FFED3BD0-216D-4E48-BFF4-A8F14DCFBB7B}"/>
                </a:ext>
              </a:extLst>
            </p:cNvPr>
            <p:cNvSpPr/>
            <p:nvPr/>
          </p:nvSpPr>
          <p:spPr>
            <a:xfrm rot="16200000" flipH="1">
              <a:off x="6003164" y="2445094"/>
              <a:ext cx="2430722" cy="2430932"/>
            </a:xfrm>
            <a:prstGeom prst="ellipse">
              <a:avLst/>
            </a:prstGeom>
            <a:noFill/>
            <a:ln w="38100" cap="flat">
              <a:solidFill>
                <a:srgbClr val="FFFFFF">
                  <a:lumMod val="85000"/>
                </a:srgbClr>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grpSp>
          <p:nvGrpSpPr>
            <p:cNvPr id="84" name="Group 83">
              <a:extLst>
                <a:ext uri="{FF2B5EF4-FFF2-40B4-BE49-F238E27FC236}">
                  <a16:creationId xmlns:a16="http://schemas.microsoft.com/office/drawing/2014/main" id="{79C792E5-BB90-5B4F-8186-7943601E2E63}"/>
                </a:ext>
              </a:extLst>
            </p:cNvPr>
            <p:cNvGrpSpPr/>
            <p:nvPr/>
          </p:nvGrpSpPr>
          <p:grpSpPr>
            <a:xfrm>
              <a:off x="7698358" y="3847874"/>
              <a:ext cx="1445642" cy="956984"/>
              <a:chOff x="7204453" y="3729903"/>
              <a:chExt cx="1978457" cy="1309696"/>
            </a:xfrm>
          </p:grpSpPr>
          <p:sp>
            <p:nvSpPr>
              <p:cNvPr id="98" name="Freeform: Shape 51">
                <a:extLst>
                  <a:ext uri="{FF2B5EF4-FFF2-40B4-BE49-F238E27FC236}">
                    <a16:creationId xmlns:a16="http://schemas.microsoft.com/office/drawing/2014/main" id="{516A4051-851B-3041-8CEE-CD7DCBF61192}"/>
                  </a:ext>
                </a:extLst>
              </p:cNvPr>
              <p:cNvSpPr/>
              <p:nvPr/>
            </p:nvSpPr>
            <p:spPr>
              <a:xfrm rot="10800000">
                <a:off x="7204453" y="3729903"/>
                <a:ext cx="1978457" cy="384032"/>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6EBE4A">
                      <a:alpha val="0"/>
                    </a:srgbClr>
                  </a:gs>
                  <a:gs pos="100000">
                    <a:srgbClr val="6EBE4A"/>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99" name="Freeform: Shape 49">
                <a:extLst>
                  <a:ext uri="{FF2B5EF4-FFF2-40B4-BE49-F238E27FC236}">
                    <a16:creationId xmlns:a16="http://schemas.microsoft.com/office/drawing/2014/main" id="{8565D669-C7F8-F14D-9E15-D120576F209F}"/>
                  </a:ext>
                </a:extLst>
              </p:cNvPr>
              <p:cNvSpPr/>
              <p:nvPr/>
            </p:nvSpPr>
            <p:spPr>
              <a:xfrm rot="10800000">
                <a:off x="7204453" y="4655567"/>
                <a:ext cx="1978457" cy="384032"/>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6EBE4A">
                      <a:alpha val="0"/>
                    </a:srgbClr>
                  </a:gs>
                  <a:gs pos="100000">
                    <a:srgbClr val="6EBE4A"/>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sp>
            <p:nvSpPr>
              <p:cNvPr id="100" name="Freeform: Shape 50">
                <a:extLst>
                  <a:ext uri="{FF2B5EF4-FFF2-40B4-BE49-F238E27FC236}">
                    <a16:creationId xmlns:a16="http://schemas.microsoft.com/office/drawing/2014/main" id="{50836479-F29E-9D44-AD59-69E62A838F47}"/>
                  </a:ext>
                </a:extLst>
              </p:cNvPr>
              <p:cNvSpPr/>
              <p:nvPr/>
            </p:nvSpPr>
            <p:spPr>
              <a:xfrm rot="10800000">
                <a:off x="7204453" y="4192735"/>
                <a:ext cx="1978457" cy="384032"/>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6EBE4A">
                      <a:alpha val="0"/>
                    </a:srgbClr>
                  </a:gs>
                  <a:gs pos="100000">
                    <a:srgbClr val="6EBE4A"/>
                  </a:gs>
                </a:gsLst>
                <a:lin ang="0" scaled="1"/>
                <a:tileRect/>
              </a:gradFill>
              <a:ln w="25400" cap="flat" cmpd="sng" algn="ctr">
                <a:noFill/>
                <a:prstDash val="solid"/>
              </a:ln>
              <a:effectLst/>
            </p:spPr>
            <p:txBody>
              <a:bodyPr wrap="square" rtlCol="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pic>
          <p:nvPicPr>
            <p:cNvPr id="85" name="Picture 84" descr="A close up of a tall building&#10;&#10;Description automatically generated">
              <a:extLst>
                <a:ext uri="{FF2B5EF4-FFF2-40B4-BE49-F238E27FC236}">
                  <a16:creationId xmlns:a16="http://schemas.microsoft.com/office/drawing/2014/main" id="{E767694D-9FE2-9340-A2E0-0F8B48D224E5}"/>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Effect>
                        <a14:brightnessContrast bright="-3000"/>
                      </a14:imgEffect>
                    </a14:imgLayer>
                  </a14:imgProps>
                </a:ext>
                <a:ext uri="{28A0092B-C50C-407E-A947-70E740481C1C}">
                  <a14:useLocalDpi xmlns:a14="http://schemas.microsoft.com/office/drawing/2010/main"/>
                </a:ext>
              </a:extLst>
            </a:blip>
            <a:srcRect/>
            <a:stretch/>
          </p:blipFill>
          <p:spPr>
            <a:xfrm flipH="1">
              <a:off x="5873233" y="2670636"/>
              <a:ext cx="2884788" cy="2225501"/>
            </a:xfrm>
            <a:prstGeom prst="rect">
              <a:avLst/>
            </a:prstGeom>
          </p:spPr>
        </p:pic>
        <p:sp>
          <p:nvSpPr>
            <p:cNvPr id="86" name="Arc 85">
              <a:extLst>
                <a:ext uri="{FF2B5EF4-FFF2-40B4-BE49-F238E27FC236}">
                  <a16:creationId xmlns:a16="http://schemas.microsoft.com/office/drawing/2014/main" id="{C054FF84-31A3-5C4C-A195-BE626D261997}"/>
                </a:ext>
              </a:extLst>
            </p:cNvPr>
            <p:cNvSpPr/>
            <p:nvPr/>
          </p:nvSpPr>
          <p:spPr>
            <a:xfrm rot="16200000" flipH="1">
              <a:off x="6257393" y="2699347"/>
              <a:ext cx="1922262" cy="1922428"/>
            </a:xfrm>
            <a:prstGeom prst="arc">
              <a:avLst>
                <a:gd name="adj1" fmla="val 622144"/>
                <a:gd name="adj2" fmla="val 18436566"/>
              </a:avLst>
            </a:prstGeom>
            <a:noFill/>
            <a:ln w="9525" cap="flat">
              <a:solidFill>
                <a:srgbClr val="1E4471"/>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87" name="Freeform: Shape 59">
              <a:extLst>
                <a:ext uri="{FF2B5EF4-FFF2-40B4-BE49-F238E27FC236}">
                  <a16:creationId xmlns:a16="http://schemas.microsoft.com/office/drawing/2014/main" id="{94588A49-7316-804B-B051-44F384ADD4B0}"/>
                </a:ext>
              </a:extLst>
            </p:cNvPr>
            <p:cNvSpPr/>
            <p:nvPr/>
          </p:nvSpPr>
          <p:spPr>
            <a:xfrm rot="18328214">
              <a:off x="5974364" y="3127415"/>
              <a:ext cx="77196" cy="7719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3" y="0"/>
                    <a:pt x="88583" y="19830"/>
                    <a:pt x="88583" y="44291"/>
                  </a:cubicBezTo>
                  <a:close/>
                </a:path>
              </a:pathLst>
            </a:custGeom>
            <a:solidFill>
              <a:srgbClr val="6ABF4B"/>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88" name="Freeform: Shape 60">
              <a:extLst>
                <a:ext uri="{FF2B5EF4-FFF2-40B4-BE49-F238E27FC236}">
                  <a16:creationId xmlns:a16="http://schemas.microsoft.com/office/drawing/2014/main" id="{44F3C538-23A2-9246-8EDF-22C816C1394C}"/>
                </a:ext>
              </a:extLst>
            </p:cNvPr>
            <p:cNvSpPr/>
            <p:nvPr/>
          </p:nvSpPr>
          <p:spPr>
            <a:xfrm rot="18328214">
              <a:off x="6564645" y="3440658"/>
              <a:ext cx="77196" cy="7719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89" name="Freeform: Shape 61">
              <a:extLst>
                <a:ext uri="{FF2B5EF4-FFF2-40B4-BE49-F238E27FC236}">
                  <a16:creationId xmlns:a16="http://schemas.microsoft.com/office/drawing/2014/main" id="{9B69EC09-FE40-5C47-B8BD-679C308DF365}"/>
                </a:ext>
              </a:extLst>
            </p:cNvPr>
            <p:cNvSpPr/>
            <p:nvPr/>
          </p:nvSpPr>
          <p:spPr>
            <a:xfrm rot="18328214">
              <a:off x="5751394" y="4278902"/>
              <a:ext cx="77196" cy="7719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6EBE4A"/>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0" name="Freeform: Shape 62">
              <a:extLst>
                <a:ext uri="{FF2B5EF4-FFF2-40B4-BE49-F238E27FC236}">
                  <a16:creationId xmlns:a16="http://schemas.microsoft.com/office/drawing/2014/main" id="{CEDFD670-7384-FA4B-AA80-BA347E709A4A}"/>
                </a:ext>
              </a:extLst>
            </p:cNvPr>
            <p:cNvSpPr/>
            <p:nvPr/>
          </p:nvSpPr>
          <p:spPr>
            <a:xfrm rot="18328214">
              <a:off x="5586598" y="4497316"/>
              <a:ext cx="77196" cy="77196"/>
            </a:xfrm>
            <a:custGeom>
              <a:avLst/>
              <a:gdLst>
                <a:gd name="connsiteX0" fmla="*/ 88582 w 88582"/>
                <a:gd name="connsiteY0" fmla="*/ 44291 h 88582"/>
                <a:gd name="connsiteX1" fmla="*/ 44291 w 88582"/>
                <a:gd name="connsiteY1" fmla="*/ 88583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3"/>
                    <a:pt x="44291" y="88583"/>
                  </a:cubicBezTo>
                  <a:cubicBezTo>
                    <a:pt x="19830" y="88583"/>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1" name="Freeform: Shape 63">
              <a:extLst>
                <a:ext uri="{FF2B5EF4-FFF2-40B4-BE49-F238E27FC236}">
                  <a16:creationId xmlns:a16="http://schemas.microsoft.com/office/drawing/2014/main" id="{2E36EA45-F0B6-B94A-9981-06A25E92CD51}"/>
                </a:ext>
              </a:extLst>
            </p:cNvPr>
            <p:cNvSpPr/>
            <p:nvPr/>
          </p:nvSpPr>
          <p:spPr>
            <a:xfrm rot="18328214">
              <a:off x="6612641" y="3082962"/>
              <a:ext cx="77196" cy="7719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3" y="0"/>
                    <a:pt x="88583" y="19830"/>
                    <a:pt x="88583" y="44291"/>
                  </a:cubicBezTo>
                  <a:close/>
                </a:path>
              </a:pathLst>
            </a:custGeom>
            <a:solidFill>
              <a:srgbClr val="FFFFFF">
                <a:lumMod val="85000"/>
              </a:srgbClr>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2" name="Freeform: Shape 65">
              <a:extLst>
                <a:ext uri="{FF2B5EF4-FFF2-40B4-BE49-F238E27FC236}">
                  <a16:creationId xmlns:a16="http://schemas.microsoft.com/office/drawing/2014/main" id="{41C5B8F5-4CFC-0C45-A4FD-6BD4D9B9C555}"/>
                </a:ext>
              </a:extLst>
            </p:cNvPr>
            <p:cNvSpPr/>
            <p:nvPr/>
          </p:nvSpPr>
          <p:spPr>
            <a:xfrm rot="18328214">
              <a:off x="5573040" y="3752579"/>
              <a:ext cx="77196" cy="7719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FBAB18"/>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3" name="Freeform: Shape 66">
              <a:extLst>
                <a:ext uri="{FF2B5EF4-FFF2-40B4-BE49-F238E27FC236}">
                  <a16:creationId xmlns:a16="http://schemas.microsoft.com/office/drawing/2014/main" id="{0F86847E-AFFC-F34A-AFFD-2E2959EE98B4}"/>
                </a:ext>
              </a:extLst>
            </p:cNvPr>
            <p:cNvSpPr/>
            <p:nvPr/>
          </p:nvSpPr>
          <p:spPr>
            <a:xfrm rot="18328214">
              <a:off x="7751998" y="2657145"/>
              <a:ext cx="452032" cy="4520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4766"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2863" y="141923"/>
                    <a:pt x="78105" y="141923"/>
                  </a:cubicBezTo>
                  <a:close/>
                </a:path>
              </a:pathLst>
            </a:custGeom>
            <a:solidFill>
              <a:srgbClr val="1E4471"/>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4" name="Freeform: Shape 67">
              <a:extLst>
                <a:ext uri="{FF2B5EF4-FFF2-40B4-BE49-F238E27FC236}">
                  <a16:creationId xmlns:a16="http://schemas.microsoft.com/office/drawing/2014/main" id="{BC60835D-287B-4F42-AD14-7EEC4CE21EDD}"/>
                </a:ext>
              </a:extLst>
            </p:cNvPr>
            <p:cNvSpPr/>
            <p:nvPr/>
          </p:nvSpPr>
          <p:spPr>
            <a:xfrm rot="18328214">
              <a:off x="5889401" y="4179727"/>
              <a:ext cx="136131" cy="136130"/>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446 h 156209"/>
                <a:gd name="connsiteX6" fmla="*/ 141923 w 156210"/>
                <a:gd name="connsiteY6" fmla="*/ 77629 h 156209"/>
                <a:gd name="connsiteX7" fmla="*/ 78105 w 156210"/>
                <a:gd name="connsiteY7" fmla="*/ 13811 h 156209"/>
                <a:gd name="connsiteX8" fmla="*/ 14288 w 156210"/>
                <a:gd name="connsiteY8" fmla="*/ 77629 h 156209"/>
                <a:gd name="connsiteX9" fmla="*/ 78105 w 156210"/>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3"/>
                    <a:pt x="156210" y="78105"/>
                  </a:cubicBezTo>
                  <a:cubicBezTo>
                    <a:pt x="156210" y="120968"/>
                    <a:pt x="120968" y="156210"/>
                    <a:pt x="78105" y="156210"/>
                  </a:cubicBezTo>
                  <a:cubicBezTo>
                    <a:pt x="35243" y="156210"/>
                    <a:pt x="0" y="120968"/>
                    <a:pt x="0" y="78105"/>
                  </a:cubicBezTo>
                  <a:cubicBezTo>
                    <a:pt x="0" y="35243"/>
                    <a:pt x="35243" y="0"/>
                    <a:pt x="78105" y="0"/>
                  </a:cubicBezTo>
                  <a:close/>
                  <a:moveTo>
                    <a:pt x="78105" y="141446"/>
                  </a:moveTo>
                  <a:cubicBezTo>
                    <a:pt x="113348" y="141446"/>
                    <a:pt x="141923" y="112871"/>
                    <a:pt x="141923" y="77629"/>
                  </a:cubicBezTo>
                  <a:cubicBezTo>
                    <a:pt x="141923" y="42386"/>
                    <a:pt x="113348" y="13811"/>
                    <a:pt x="78105" y="13811"/>
                  </a:cubicBezTo>
                  <a:cubicBezTo>
                    <a:pt x="42863" y="13811"/>
                    <a:pt x="14288" y="42386"/>
                    <a:pt x="14288" y="77629"/>
                  </a:cubicBezTo>
                  <a:cubicBezTo>
                    <a:pt x="14288" y="112871"/>
                    <a:pt x="43339" y="141446"/>
                    <a:pt x="78105" y="141446"/>
                  </a:cubicBezTo>
                  <a:close/>
                </a:path>
              </a:pathLst>
            </a:custGeom>
            <a:solidFill>
              <a:srgbClr val="00BCEB"/>
            </a:solidFill>
            <a:ln w="4763"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5" name="Arc 94">
              <a:extLst>
                <a:ext uri="{FF2B5EF4-FFF2-40B4-BE49-F238E27FC236}">
                  <a16:creationId xmlns:a16="http://schemas.microsoft.com/office/drawing/2014/main" id="{9D2F2B37-C921-6C4F-B01C-4F8F429AFACC}"/>
                </a:ext>
              </a:extLst>
            </p:cNvPr>
            <p:cNvSpPr/>
            <p:nvPr/>
          </p:nvSpPr>
          <p:spPr>
            <a:xfrm rot="16200000" flipH="1">
              <a:off x="6133984" y="2578093"/>
              <a:ext cx="2169080" cy="2169268"/>
            </a:xfrm>
            <a:prstGeom prst="arc">
              <a:avLst>
                <a:gd name="adj1" fmla="val 18218972"/>
                <a:gd name="adj2" fmla="val 8085114"/>
              </a:avLst>
            </a:prstGeom>
            <a:noFill/>
            <a:ln w="9525" cap="flat">
              <a:solidFill>
                <a:srgbClr val="E3241B"/>
              </a:solid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282828"/>
                </a:solidFill>
                <a:effectLst/>
                <a:uLnTx/>
                <a:uFillTx/>
                <a:ea typeface="+mn-ea"/>
              </a:endParaRPr>
            </a:p>
          </p:txBody>
        </p:sp>
        <p:sp>
          <p:nvSpPr>
            <p:cNvPr id="96" name="Freeform: Shape 75">
              <a:extLst>
                <a:ext uri="{FF2B5EF4-FFF2-40B4-BE49-F238E27FC236}">
                  <a16:creationId xmlns:a16="http://schemas.microsoft.com/office/drawing/2014/main" id="{E7769899-D671-DF49-829D-AC6B1ACE3FAA}"/>
                </a:ext>
              </a:extLst>
            </p:cNvPr>
            <p:cNvSpPr/>
            <p:nvPr/>
          </p:nvSpPr>
          <p:spPr>
            <a:xfrm>
              <a:off x="6958691" y="3535772"/>
              <a:ext cx="925290" cy="925288"/>
            </a:xfrm>
            <a:custGeom>
              <a:avLst/>
              <a:gdLst>
                <a:gd name="connsiteX0" fmla="*/ 462645 w 925290"/>
                <a:gd name="connsiteY0" fmla="*/ 62594 h 925288"/>
                <a:gd name="connsiteX1" fmla="*/ 62595 w 925290"/>
                <a:gd name="connsiteY1" fmla="*/ 462644 h 925288"/>
                <a:gd name="connsiteX2" fmla="*/ 462645 w 925290"/>
                <a:gd name="connsiteY2" fmla="*/ 862694 h 925288"/>
                <a:gd name="connsiteX3" fmla="*/ 862695 w 925290"/>
                <a:gd name="connsiteY3" fmla="*/ 462644 h 925288"/>
                <a:gd name="connsiteX4" fmla="*/ 462645 w 925290"/>
                <a:gd name="connsiteY4" fmla="*/ 62594 h 925288"/>
                <a:gd name="connsiteX5" fmla="*/ 462645 w 925290"/>
                <a:gd name="connsiteY5" fmla="*/ 0 h 925288"/>
                <a:gd name="connsiteX6" fmla="*/ 925290 w 925290"/>
                <a:gd name="connsiteY6" fmla="*/ 462644 h 925288"/>
                <a:gd name="connsiteX7" fmla="*/ 462645 w 925290"/>
                <a:gd name="connsiteY7" fmla="*/ 925288 h 925288"/>
                <a:gd name="connsiteX8" fmla="*/ 0 w 925290"/>
                <a:gd name="connsiteY8" fmla="*/ 462644 h 925288"/>
                <a:gd name="connsiteX9" fmla="*/ 462645 w 925290"/>
                <a:gd name="connsiteY9" fmla="*/ 0 h 92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290" h="925288">
                  <a:moveTo>
                    <a:pt x="462645" y="62594"/>
                  </a:moveTo>
                  <a:cubicBezTo>
                    <a:pt x="241703" y="62594"/>
                    <a:pt x="62595" y="241702"/>
                    <a:pt x="62595" y="462644"/>
                  </a:cubicBezTo>
                  <a:cubicBezTo>
                    <a:pt x="62595" y="683586"/>
                    <a:pt x="241703" y="862694"/>
                    <a:pt x="462645" y="862694"/>
                  </a:cubicBezTo>
                  <a:cubicBezTo>
                    <a:pt x="683587" y="862694"/>
                    <a:pt x="862695" y="683586"/>
                    <a:pt x="862695" y="462644"/>
                  </a:cubicBezTo>
                  <a:cubicBezTo>
                    <a:pt x="862695" y="241702"/>
                    <a:pt x="683587" y="62594"/>
                    <a:pt x="462645" y="62594"/>
                  </a:cubicBezTo>
                  <a:close/>
                  <a:moveTo>
                    <a:pt x="462645" y="0"/>
                  </a:moveTo>
                  <a:cubicBezTo>
                    <a:pt x="718157" y="0"/>
                    <a:pt x="925290" y="207133"/>
                    <a:pt x="925290" y="462644"/>
                  </a:cubicBezTo>
                  <a:cubicBezTo>
                    <a:pt x="925290" y="718155"/>
                    <a:pt x="718157" y="925288"/>
                    <a:pt x="462645" y="925288"/>
                  </a:cubicBezTo>
                  <a:cubicBezTo>
                    <a:pt x="207133" y="925288"/>
                    <a:pt x="0" y="718155"/>
                    <a:pt x="0" y="462644"/>
                  </a:cubicBezTo>
                  <a:cubicBezTo>
                    <a:pt x="0" y="207133"/>
                    <a:pt x="207133" y="0"/>
                    <a:pt x="462645" y="0"/>
                  </a:cubicBezTo>
                  <a:close/>
                </a:path>
              </a:pathLst>
            </a:custGeom>
            <a:solidFill>
              <a:srgbClr val="FBAB18"/>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D274D"/>
                </a:solidFill>
                <a:effectLst/>
                <a:uLnTx/>
                <a:uFillTx/>
                <a:latin typeface="CiscoSansTT ExtraLight"/>
                <a:ea typeface="+mn-ea"/>
                <a:cs typeface="+mn-cs"/>
              </a:endParaRPr>
            </a:p>
          </p:txBody>
        </p:sp>
        <p:pic>
          <p:nvPicPr>
            <p:cNvPr id="97" name="Picture 96" descr="A close up of a tall building&#10;&#10;Description automatically generated">
              <a:extLst>
                <a:ext uri="{FF2B5EF4-FFF2-40B4-BE49-F238E27FC236}">
                  <a16:creationId xmlns:a16="http://schemas.microsoft.com/office/drawing/2014/main" id="{F27EB0E6-2C12-5F41-ABAA-0284A3A9CD38}"/>
                </a:ext>
              </a:extLst>
            </p:cNvPr>
            <p:cNvPicPr>
              <a:picLocks noChangeAspect="1"/>
            </p:cNvPicPr>
            <p:nvPr/>
          </p:nvPicPr>
          <p:blipFill rotWithShape="1">
            <a:blip r:embed="rId5" cstate="screen">
              <a:extLst>
                <a:ext uri="{BEBA8EAE-BF5A-486C-A8C5-ECC9F3942E4B}">
                  <a14:imgProps xmlns:a14="http://schemas.microsoft.com/office/drawing/2010/main">
                    <a14:imgLayer r:embed="rId6">
                      <a14:imgEffect>
                        <a14:colorTemperature colorTemp="7200"/>
                      </a14:imgEffect>
                      <a14:imgEffect>
                        <a14:saturation sat="66000"/>
                      </a14:imgEffect>
                      <a14:imgEffect>
                        <a14:brightnessContrast bright="-3000"/>
                      </a14:imgEffect>
                    </a14:imgLayer>
                  </a14:imgProps>
                </a:ext>
                <a:ext uri="{28A0092B-C50C-407E-A947-70E740481C1C}">
                  <a14:useLocalDpi xmlns:a14="http://schemas.microsoft.com/office/drawing/2010/main"/>
                </a:ext>
              </a:extLst>
            </a:blip>
            <a:srcRect/>
            <a:stretch/>
          </p:blipFill>
          <p:spPr>
            <a:xfrm flipH="1">
              <a:off x="7021285" y="3598366"/>
              <a:ext cx="800100" cy="800100"/>
            </a:xfrm>
            <a:custGeom>
              <a:avLst/>
              <a:gdLst>
                <a:gd name="connsiteX0" fmla="*/ 400050 w 800100"/>
                <a:gd name="connsiteY0" fmla="*/ 0 h 800100"/>
                <a:gd name="connsiteX1" fmla="*/ 0 w 800100"/>
                <a:gd name="connsiteY1" fmla="*/ 400050 h 800100"/>
                <a:gd name="connsiteX2" fmla="*/ 400050 w 800100"/>
                <a:gd name="connsiteY2" fmla="*/ 800100 h 800100"/>
                <a:gd name="connsiteX3" fmla="*/ 800100 w 800100"/>
                <a:gd name="connsiteY3" fmla="*/ 400050 h 800100"/>
                <a:gd name="connsiteX4" fmla="*/ 400050 w 800100"/>
                <a:gd name="connsiteY4" fmla="*/ 0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800100">
                  <a:moveTo>
                    <a:pt x="400050" y="0"/>
                  </a:moveTo>
                  <a:cubicBezTo>
                    <a:pt x="179108" y="0"/>
                    <a:pt x="0" y="179108"/>
                    <a:pt x="0" y="400050"/>
                  </a:cubicBezTo>
                  <a:cubicBezTo>
                    <a:pt x="0" y="620992"/>
                    <a:pt x="179108" y="800100"/>
                    <a:pt x="400050" y="800100"/>
                  </a:cubicBezTo>
                  <a:cubicBezTo>
                    <a:pt x="620992" y="800100"/>
                    <a:pt x="800100" y="620992"/>
                    <a:pt x="800100" y="400050"/>
                  </a:cubicBezTo>
                  <a:cubicBezTo>
                    <a:pt x="800100" y="179108"/>
                    <a:pt x="620992" y="0"/>
                    <a:pt x="400050" y="0"/>
                  </a:cubicBezTo>
                  <a:close/>
                </a:path>
              </a:pathLst>
            </a:custGeom>
          </p:spPr>
        </p:pic>
      </p:grpSp>
      <p:sp>
        <p:nvSpPr>
          <p:cNvPr id="103" name="Text Placeholder 3">
            <a:extLst>
              <a:ext uri="{FF2B5EF4-FFF2-40B4-BE49-F238E27FC236}">
                <a16:creationId xmlns:a16="http://schemas.microsoft.com/office/drawing/2014/main" id="{AE5C6E7D-EA6C-BF46-B3C5-4DFECA23EFA2}"/>
              </a:ext>
            </a:extLst>
          </p:cNvPr>
          <p:cNvSpPr txBox="1">
            <a:spLocks/>
          </p:cNvSpPr>
          <p:nvPr/>
        </p:nvSpPr>
        <p:spPr>
          <a:xfrm>
            <a:off x="437766" y="1962464"/>
            <a:ext cx="2353134" cy="981584"/>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None/>
            </a:pPr>
            <a:r>
              <a:rPr lang="en-US" dirty="0"/>
              <a:t>Threat intelligence and visibility become </a:t>
            </a:r>
            <a:r>
              <a:rPr lang="en-US" dirty="0">
                <a:solidFill>
                  <a:schemeClr val="accent2"/>
                </a:solidFill>
              </a:rPr>
              <a:t>more siloed</a:t>
            </a:r>
          </a:p>
        </p:txBody>
      </p:sp>
      <p:sp>
        <p:nvSpPr>
          <p:cNvPr id="104" name="Text Placeholder 3">
            <a:extLst>
              <a:ext uri="{FF2B5EF4-FFF2-40B4-BE49-F238E27FC236}">
                <a16:creationId xmlns:a16="http://schemas.microsoft.com/office/drawing/2014/main" id="{1ABE240D-555E-7D4A-A3D9-D75614CAD711}"/>
              </a:ext>
            </a:extLst>
          </p:cNvPr>
          <p:cNvSpPr txBox="1">
            <a:spLocks/>
          </p:cNvSpPr>
          <p:nvPr/>
        </p:nvSpPr>
        <p:spPr>
          <a:xfrm>
            <a:off x="3164025" y="1962464"/>
            <a:ext cx="2201356" cy="981584"/>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None/>
            </a:pPr>
            <a:r>
              <a:rPr lang="en-US" dirty="0"/>
              <a:t>Need to </a:t>
            </a:r>
            <a:r>
              <a:rPr lang="en-US" dirty="0">
                <a:solidFill>
                  <a:schemeClr val="accent2"/>
                </a:solidFill>
              </a:rPr>
              <a:t>constantly pivot </a:t>
            </a:r>
            <a:r>
              <a:rPr lang="en-US" dirty="0"/>
              <a:t>between interfaces</a:t>
            </a:r>
          </a:p>
        </p:txBody>
      </p:sp>
      <p:sp>
        <p:nvSpPr>
          <p:cNvPr id="105" name="Text Placeholder 3">
            <a:extLst>
              <a:ext uri="{FF2B5EF4-FFF2-40B4-BE49-F238E27FC236}">
                <a16:creationId xmlns:a16="http://schemas.microsoft.com/office/drawing/2014/main" id="{B42D911B-EE2A-C944-BE9A-498F66320C52}"/>
              </a:ext>
            </a:extLst>
          </p:cNvPr>
          <p:cNvSpPr txBox="1">
            <a:spLocks/>
          </p:cNvSpPr>
          <p:nvPr/>
        </p:nvSpPr>
        <p:spPr>
          <a:xfrm>
            <a:off x="437766" y="3176607"/>
            <a:ext cx="2230840" cy="981584"/>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None/>
            </a:pPr>
            <a:r>
              <a:rPr lang="en-US" dirty="0"/>
              <a:t>Spending </a:t>
            </a:r>
            <a:r>
              <a:rPr lang="en-US" dirty="0">
                <a:solidFill>
                  <a:schemeClr val="accent2"/>
                </a:solidFill>
              </a:rPr>
              <a:t>too much time </a:t>
            </a:r>
            <a:r>
              <a:rPr lang="en-US" dirty="0"/>
              <a:t>on integration</a:t>
            </a:r>
          </a:p>
        </p:txBody>
      </p:sp>
      <p:sp>
        <p:nvSpPr>
          <p:cNvPr id="106" name="Text Placeholder 3">
            <a:extLst>
              <a:ext uri="{FF2B5EF4-FFF2-40B4-BE49-F238E27FC236}">
                <a16:creationId xmlns:a16="http://schemas.microsoft.com/office/drawing/2014/main" id="{7B82ACBD-883F-A64D-A8D9-E37F405E91D5}"/>
              </a:ext>
            </a:extLst>
          </p:cNvPr>
          <p:cNvSpPr txBox="1">
            <a:spLocks/>
          </p:cNvSpPr>
          <p:nvPr/>
        </p:nvSpPr>
        <p:spPr>
          <a:xfrm>
            <a:off x="3164025" y="3176607"/>
            <a:ext cx="2201356" cy="981584"/>
          </a:xfrm>
          <a:prstGeom prst="rect">
            <a:avLst/>
          </a:prstGeom>
        </p:spPr>
        <p:txBody>
          <a:bodyPr vert="horz" lIns="91440" tIns="45720" rIns="91440" bIns="45720" rtlCol="0">
            <a:noAutofit/>
          </a:bodyPr>
          <a:lstStyle>
            <a:lvl1pPr marL="228600" indent="-220663" algn="l" defTabSz="684213" rtl="0" eaLnBrk="1" fontAlgn="base" hangingPunct="1">
              <a:lnSpc>
                <a:spcPct val="95000"/>
              </a:lnSpc>
              <a:spcBef>
                <a:spcPts val="1200"/>
              </a:spcBef>
              <a:spcAft>
                <a:spcPct val="0"/>
              </a:spcAft>
              <a:buClr>
                <a:schemeClr val="accent2"/>
              </a:buClr>
              <a:buSzPct val="80000"/>
              <a:buFont typeface="Arial" charset="0"/>
              <a:buChar char="•"/>
              <a:tabLst/>
              <a:defRPr lang="en-US" sz="1800" kern="1200">
                <a:solidFill>
                  <a:schemeClr val="tx1"/>
                </a:solidFill>
                <a:latin typeface="+mn-lt"/>
                <a:ea typeface="ＭＳ Ｐゴシック" charset="0"/>
                <a:cs typeface="CiscoSans"/>
              </a:defRPr>
            </a:lvl1pPr>
            <a:lvl2pPr marL="448056" indent="-209550"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tab pos="227013" algn="l"/>
              </a:tabLst>
              <a:defRPr lang="en-US" sz="1600" kern="1200">
                <a:solidFill>
                  <a:schemeClr val="tx1"/>
                </a:solidFill>
                <a:latin typeface="+mn-lt"/>
                <a:ea typeface="ＭＳ Ｐゴシック" charset="0"/>
                <a:cs typeface="CiscoSans"/>
              </a:defRPr>
            </a:lvl2pPr>
            <a:lvl3pPr marL="621792"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400" kern="1200">
                <a:solidFill>
                  <a:schemeClr val="tx1"/>
                </a:solidFill>
                <a:latin typeface="+mn-lt"/>
                <a:ea typeface="ＭＳ Ｐゴシック" charset="0"/>
                <a:cs typeface="CiscoSans"/>
              </a:defRPr>
            </a:lvl3pPr>
            <a:lvl4pPr marL="800100" indent="-185738" algn="l" defTabSz="684213" rtl="0" eaLnBrk="1" fontAlgn="base" hangingPunct="1">
              <a:lnSpc>
                <a:spcPct val="95000"/>
              </a:lnSpc>
              <a:spcBef>
                <a:spcPts val="600"/>
              </a:spcBef>
              <a:spcAft>
                <a:spcPct val="0"/>
              </a:spcAft>
              <a:buClr>
                <a:schemeClr val="accent2"/>
              </a:buClr>
              <a:buSzPct val="100000"/>
              <a:buFont typeface="Hiragino Maru Gothic ProN W4" panose="020F0400000000000000" pitchFamily="34" charset="-128"/>
              <a:buChar char="‑"/>
              <a:tabLst/>
              <a:defRPr lang="en-US" sz="1200" kern="1200" dirty="0">
                <a:solidFill>
                  <a:schemeClr val="tx1"/>
                </a:solidFill>
                <a:latin typeface="+mn-lt"/>
                <a:ea typeface="ＭＳ Ｐゴシック" charset="0"/>
                <a:cs typeface="CiscoSans"/>
              </a:defRPr>
            </a:lvl4pPr>
            <a:lvl5pPr marL="971550" indent="-171450" algn="l" defTabSz="684213" rtl="0" eaLnBrk="1" fontAlgn="base" hangingPunct="1">
              <a:lnSpc>
                <a:spcPct val="95000"/>
              </a:lnSpc>
              <a:spcBef>
                <a:spcPts val="600"/>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937" indent="0">
              <a:buNone/>
            </a:pPr>
            <a:r>
              <a:rPr lang="en-US" dirty="0"/>
              <a:t>Workflows become </a:t>
            </a:r>
            <a:r>
              <a:rPr lang="en-US" dirty="0">
                <a:solidFill>
                  <a:schemeClr val="accent2"/>
                </a:solidFill>
              </a:rPr>
              <a:t>disconnected</a:t>
            </a:r>
            <a:r>
              <a:rPr lang="en-US" dirty="0"/>
              <a:t> and hard to follow</a:t>
            </a:r>
          </a:p>
        </p:txBody>
      </p:sp>
      <p:cxnSp>
        <p:nvCxnSpPr>
          <p:cNvPr id="16" name="Straight Connector 15">
            <a:extLst>
              <a:ext uri="{FF2B5EF4-FFF2-40B4-BE49-F238E27FC236}">
                <a16:creationId xmlns:a16="http://schemas.microsoft.com/office/drawing/2014/main" id="{99D0F7E5-33AC-4443-82C2-7F2C9D684CD7}"/>
              </a:ext>
            </a:extLst>
          </p:cNvPr>
          <p:cNvCxnSpPr/>
          <p:nvPr/>
        </p:nvCxnSpPr>
        <p:spPr>
          <a:xfrm>
            <a:off x="533400" y="2944047"/>
            <a:ext cx="52354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CF72E0-9B97-1647-A834-72C9935367D4}"/>
              </a:ext>
            </a:extLst>
          </p:cNvPr>
          <p:cNvCxnSpPr/>
          <p:nvPr/>
        </p:nvCxnSpPr>
        <p:spPr>
          <a:xfrm>
            <a:off x="2921621" y="2014654"/>
            <a:ext cx="0" cy="190343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024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1D6875-A820-DE47-8AD9-2EF31E561856}"/>
              </a:ext>
            </a:extLst>
          </p:cNvPr>
          <p:cNvSpPr>
            <a:spLocks noGrp="1"/>
          </p:cNvSpPr>
          <p:nvPr>
            <p:ph type="title"/>
          </p:nvPr>
        </p:nvSpPr>
        <p:spPr>
          <a:xfrm>
            <a:off x="420010" y="341313"/>
            <a:ext cx="4024573" cy="3931920"/>
          </a:xfrm>
        </p:spPr>
        <p:txBody>
          <a:bodyPr/>
          <a:lstStyle/>
          <a:p>
            <a:r>
              <a:rPr lang="en-US" dirty="0"/>
              <a:t>Key Findings: More Strategic Focus, Less Noise </a:t>
            </a:r>
          </a:p>
        </p:txBody>
      </p:sp>
      <p:sp>
        <p:nvSpPr>
          <p:cNvPr id="2" name="Text Placeholder 1">
            <a:extLst>
              <a:ext uri="{FF2B5EF4-FFF2-40B4-BE49-F238E27FC236}">
                <a16:creationId xmlns:a16="http://schemas.microsoft.com/office/drawing/2014/main" id="{2137AB60-EEFA-2247-81C7-163198AD1C6E}"/>
              </a:ext>
            </a:extLst>
          </p:cNvPr>
          <p:cNvSpPr>
            <a:spLocks noGrp="1"/>
          </p:cNvSpPr>
          <p:nvPr>
            <p:ph type="body" sz="quarter" idx="10"/>
          </p:nvPr>
        </p:nvSpPr>
        <p:spPr>
          <a:xfrm>
            <a:off x="4444584" y="341313"/>
            <a:ext cx="4350011" cy="3931920"/>
          </a:xfrm>
        </p:spPr>
        <p:txBody>
          <a:bodyPr/>
          <a:lstStyle/>
          <a:p>
            <a:pPr>
              <a:spcBef>
                <a:spcPts val="1200"/>
              </a:spcBef>
            </a:pPr>
            <a:r>
              <a:rPr lang="en-US" dirty="0"/>
              <a:t>Challenging to orchestrate alerts from multiple security vendors’ products </a:t>
            </a:r>
          </a:p>
          <a:p>
            <a:pPr>
              <a:spcBef>
                <a:spcPts val="1200"/>
              </a:spcBef>
            </a:pPr>
            <a:r>
              <a:rPr lang="en-US" dirty="0"/>
              <a:t>Impacts alert management and  prioritization</a:t>
            </a:r>
          </a:p>
          <a:p>
            <a:pPr>
              <a:spcBef>
                <a:spcPts val="1200"/>
              </a:spcBef>
            </a:pPr>
            <a:r>
              <a:rPr lang="en-US" dirty="0"/>
              <a:t>Reduces productivity</a:t>
            </a:r>
          </a:p>
          <a:p>
            <a:pPr>
              <a:spcBef>
                <a:spcPts val="1200"/>
              </a:spcBef>
            </a:pPr>
            <a:r>
              <a:rPr lang="en-US" dirty="0"/>
              <a:t>Increases integration headaches</a:t>
            </a:r>
          </a:p>
          <a:p>
            <a:pPr>
              <a:spcBef>
                <a:spcPts val="1200"/>
              </a:spcBef>
            </a:pPr>
            <a:r>
              <a:rPr lang="en-US" dirty="0"/>
              <a:t>Limits response efficacy </a:t>
            </a:r>
          </a:p>
          <a:p>
            <a:pPr>
              <a:spcBef>
                <a:spcPts val="1200"/>
              </a:spcBef>
            </a:pPr>
            <a:endParaRPr lang="en-US" dirty="0"/>
          </a:p>
        </p:txBody>
      </p:sp>
    </p:spTree>
    <p:extLst>
      <p:ext uri="{BB962C8B-B14F-4D97-AF65-F5344CB8AC3E}">
        <p14:creationId xmlns:p14="http://schemas.microsoft.com/office/powerpoint/2010/main" val="368576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5B86BB9-B44A-6249-86C5-E0388DB200A4}"/>
              </a:ext>
            </a:extLst>
          </p:cNvPr>
          <p:cNvGrpSpPr/>
          <p:nvPr/>
        </p:nvGrpSpPr>
        <p:grpSpPr>
          <a:xfrm>
            <a:off x="6861220" y="1848684"/>
            <a:ext cx="1758297" cy="1762138"/>
            <a:chOff x="403225" y="691356"/>
            <a:chExt cx="725488" cy="727075"/>
          </a:xfrm>
        </p:grpSpPr>
        <p:sp>
          <p:nvSpPr>
            <p:cNvPr id="5" name="Oval 25">
              <a:extLst>
                <a:ext uri="{FF2B5EF4-FFF2-40B4-BE49-F238E27FC236}">
                  <a16:creationId xmlns:a16="http://schemas.microsoft.com/office/drawing/2014/main" id="{C873DBBA-5F4D-8E4C-AEDC-995A4443E2D4}"/>
                </a:ext>
              </a:extLst>
            </p:cNvPr>
            <p:cNvSpPr>
              <a:spLocks noChangeArrowheads="1"/>
            </p:cNvSpPr>
            <p:nvPr/>
          </p:nvSpPr>
          <p:spPr bwMode="auto">
            <a:xfrm>
              <a:off x="403225" y="691356"/>
              <a:ext cx="725488" cy="727075"/>
            </a:xfrm>
            <a:prstGeom prst="ellipse">
              <a:avLst/>
            </a:prstGeom>
            <a:noFill/>
            <a:ln w="1143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cs typeface="CiscoSansTT ExtraLight"/>
                <a:sym typeface="CiscoSansTT ExtraLight"/>
              </a:endParaRPr>
            </a:p>
          </p:txBody>
        </p:sp>
        <p:sp>
          <p:nvSpPr>
            <p:cNvPr id="6" name="Line 26">
              <a:extLst>
                <a:ext uri="{FF2B5EF4-FFF2-40B4-BE49-F238E27FC236}">
                  <a16:creationId xmlns:a16="http://schemas.microsoft.com/office/drawing/2014/main" id="{2E1C4648-E4C2-1947-AD04-47C28D10D8D8}"/>
                </a:ext>
              </a:extLst>
            </p:cNvPr>
            <p:cNvSpPr>
              <a:spLocks noChangeShapeType="1"/>
            </p:cNvSpPr>
            <p:nvPr/>
          </p:nvSpPr>
          <p:spPr bwMode="auto">
            <a:xfrm>
              <a:off x="766763" y="691356"/>
              <a:ext cx="0" cy="0"/>
            </a:xfrm>
            <a:prstGeom prst="line">
              <a:avLst/>
            </a:prstGeom>
            <a:noFill/>
            <a:ln w="11430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cs typeface="CiscoSansTT ExtraLight"/>
                <a:sym typeface="CiscoSansTT ExtraLight"/>
              </a:endParaRPr>
            </a:p>
          </p:txBody>
        </p:sp>
        <p:sp>
          <p:nvSpPr>
            <p:cNvPr id="7" name="Line 27">
              <a:extLst>
                <a:ext uri="{FF2B5EF4-FFF2-40B4-BE49-F238E27FC236}">
                  <a16:creationId xmlns:a16="http://schemas.microsoft.com/office/drawing/2014/main" id="{FE6A338E-9672-8B4D-9BE0-315EA1CC8ED9}"/>
                </a:ext>
              </a:extLst>
            </p:cNvPr>
            <p:cNvSpPr>
              <a:spLocks noChangeShapeType="1"/>
            </p:cNvSpPr>
            <p:nvPr/>
          </p:nvSpPr>
          <p:spPr bwMode="auto">
            <a:xfrm>
              <a:off x="766763" y="691356"/>
              <a:ext cx="0" cy="0"/>
            </a:xfrm>
            <a:prstGeom prst="line">
              <a:avLst/>
            </a:prstGeom>
            <a:noFill/>
            <a:ln w="114300" cap="rnd">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cs typeface="CiscoSansTT ExtraLight"/>
                <a:sym typeface="CiscoSansTT ExtraLight"/>
              </a:endParaRPr>
            </a:p>
          </p:txBody>
        </p:sp>
        <p:sp>
          <p:nvSpPr>
            <p:cNvPr id="8" name="Freeform 28">
              <a:extLst>
                <a:ext uri="{FF2B5EF4-FFF2-40B4-BE49-F238E27FC236}">
                  <a16:creationId xmlns:a16="http://schemas.microsoft.com/office/drawing/2014/main" id="{A77989A3-0C2C-CC4D-9D12-08C4D5A5DF5A}"/>
                </a:ext>
              </a:extLst>
            </p:cNvPr>
            <p:cNvSpPr>
              <a:spLocks/>
            </p:cNvSpPr>
            <p:nvPr/>
          </p:nvSpPr>
          <p:spPr bwMode="auto">
            <a:xfrm>
              <a:off x="755650" y="691356"/>
              <a:ext cx="19050" cy="0"/>
            </a:xfrm>
            <a:custGeom>
              <a:avLst/>
              <a:gdLst>
                <a:gd name="T0" fmla="*/ 0 w 7"/>
                <a:gd name="T1" fmla="*/ 7 w 7"/>
              </a:gdLst>
              <a:ahLst/>
              <a:cxnLst>
                <a:cxn ang="0">
                  <a:pos x="T0" y="0"/>
                </a:cxn>
                <a:cxn ang="0">
                  <a:pos x="T1" y="0"/>
                </a:cxn>
              </a:cxnLst>
              <a:rect l="0" t="0" r="r" b="b"/>
              <a:pathLst>
                <a:path w="7">
                  <a:moveTo>
                    <a:pt x="0" y="0"/>
                  </a:moveTo>
                  <a:cubicBezTo>
                    <a:pt x="3" y="0"/>
                    <a:pt x="4" y="0"/>
                    <a:pt x="7" y="0"/>
                  </a:cubicBezTo>
                </a:path>
              </a:pathLst>
            </a:custGeom>
            <a:noFill/>
            <a:ln w="114300" cap="rnd">
              <a:solidFill>
                <a:schemeClr val="accent6"/>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Arial" charset="0"/>
                <a:ea typeface="ＭＳ Ｐゴシック" charset="0"/>
                <a:cs typeface="CiscoSansTT ExtraLight"/>
                <a:sym typeface="CiscoSansTT ExtraLight"/>
              </a:endParaRPr>
            </a:p>
          </p:txBody>
        </p:sp>
      </p:grpSp>
      <p:sp>
        <p:nvSpPr>
          <p:cNvPr id="9" name="TextBox 8">
            <a:extLst>
              <a:ext uri="{FF2B5EF4-FFF2-40B4-BE49-F238E27FC236}">
                <a16:creationId xmlns:a16="http://schemas.microsoft.com/office/drawing/2014/main" id="{A950E359-F69C-D243-9A8B-FACCFA791F54}"/>
              </a:ext>
            </a:extLst>
          </p:cNvPr>
          <p:cNvSpPr txBox="1"/>
          <p:nvPr/>
        </p:nvSpPr>
        <p:spPr>
          <a:xfrm>
            <a:off x="6880418" y="2341421"/>
            <a:ext cx="1716065" cy="769441"/>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300" normalizeH="0" baseline="0" noProof="0" dirty="0">
                <a:ln>
                  <a:noFill/>
                </a:ln>
                <a:solidFill>
                  <a:schemeClr val="accent6"/>
                </a:solidFill>
                <a:effectLst/>
                <a:uLnTx/>
                <a:uFillTx/>
                <a:latin typeface="CiscoSansTT Thin" panose="020B0203020201020303" pitchFamily="34" charset="0"/>
                <a:ea typeface="ＭＳ Ｐゴシック" charset="0"/>
                <a:cs typeface="CiscoSansTT Thin" panose="020B0203020201020303" pitchFamily="34" charset="0"/>
                <a:sym typeface="CiscoSansTT ExtraLight"/>
              </a:rPr>
              <a:t>1%</a:t>
            </a:r>
          </a:p>
        </p:txBody>
      </p:sp>
      <p:sp>
        <p:nvSpPr>
          <p:cNvPr id="10" name="TextBox 9">
            <a:extLst>
              <a:ext uri="{FF2B5EF4-FFF2-40B4-BE49-F238E27FC236}">
                <a16:creationId xmlns:a16="http://schemas.microsoft.com/office/drawing/2014/main" id="{3F6BA231-795D-2948-9354-DF3F88C9B121}"/>
              </a:ext>
            </a:extLst>
          </p:cNvPr>
          <p:cNvSpPr txBox="1"/>
          <p:nvPr/>
        </p:nvSpPr>
        <p:spPr>
          <a:xfrm>
            <a:off x="850924" y="3747010"/>
            <a:ext cx="1232240"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Very challenging</a:t>
            </a:r>
          </a:p>
        </p:txBody>
      </p:sp>
      <p:sp>
        <p:nvSpPr>
          <p:cNvPr id="11" name="TextBox 10">
            <a:extLst>
              <a:ext uri="{FF2B5EF4-FFF2-40B4-BE49-F238E27FC236}">
                <a16:creationId xmlns:a16="http://schemas.microsoft.com/office/drawing/2014/main" id="{FB19AEB7-1002-D24D-A07B-A32BD634BF1F}"/>
              </a:ext>
            </a:extLst>
          </p:cNvPr>
          <p:cNvSpPr txBox="1"/>
          <p:nvPr/>
        </p:nvSpPr>
        <p:spPr>
          <a:xfrm>
            <a:off x="4866654" y="3747010"/>
            <a:ext cx="1562090"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Not challenging</a:t>
            </a:r>
            <a:b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b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at all</a:t>
            </a:r>
          </a:p>
        </p:txBody>
      </p:sp>
      <p:sp>
        <p:nvSpPr>
          <p:cNvPr id="12" name="TextBox 11">
            <a:extLst>
              <a:ext uri="{FF2B5EF4-FFF2-40B4-BE49-F238E27FC236}">
                <a16:creationId xmlns:a16="http://schemas.microsoft.com/office/drawing/2014/main" id="{6286667A-396D-8E49-B08D-7195180991A8}"/>
              </a:ext>
            </a:extLst>
          </p:cNvPr>
          <p:cNvSpPr txBox="1"/>
          <p:nvPr/>
        </p:nvSpPr>
        <p:spPr>
          <a:xfrm>
            <a:off x="6710797" y="3747010"/>
            <a:ext cx="2097538" cy="73866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N/A We don’t use products from</a:t>
            </a:r>
            <a:b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b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multiple vendors</a:t>
            </a:r>
          </a:p>
        </p:txBody>
      </p:sp>
      <p:sp>
        <p:nvSpPr>
          <p:cNvPr id="13" name="TextBox 12">
            <a:extLst>
              <a:ext uri="{FF2B5EF4-FFF2-40B4-BE49-F238E27FC236}">
                <a16:creationId xmlns:a16="http://schemas.microsoft.com/office/drawing/2014/main" id="{86A0886F-BCAA-0145-AB09-7F26AA5844F2}"/>
              </a:ext>
            </a:extLst>
          </p:cNvPr>
          <p:cNvSpPr txBox="1"/>
          <p:nvPr/>
        </p:nvSpPr>
        <p:spPr>
          <a:xfrm>
            <a:off x="2938675" y="3747010"/>
            <a:ext cx="1232240"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mn-lt"/>
                <a:ea typeface="ＭＳ Ｐゴシック" charset="0"/>
                <a:cs typeface="CiscoSansTT ExtraLight"/>
                <a:sym typeface="CiscoSansTT ExtraLight"/>
              </a:rPr>
              <a:t>Somewhat challenging</a:t>
            </a:r>
          </a:p>
        </p:txBody>
      </p:sp>
      <p:grpSp>
        <p:nvGrpSpPr>
          <p:cNvPr id="14" name="Group 13">
            <a:extLst>
              <a:ext uri="{FF2B5EF4-FFF2-40B4-BE49-F238E27FC236}">
                <a16:creationId xmlns:a16="http://schemas.microsoft.com/office/drawing/2014/main" id="{3135DAA7-1D75-504E-AD51-8503B655530C}"/>
              </a:ext>
            </a:extLst>
          </p:cNvPr>
          <p:cNvGrpSpPr/>
          <p:nvPr/>
        </p:nvGrpSpPr>
        <p:grpSpPr>
          <a:xfrm>
            <a:off x="596339" y="1851927"/>
            <a:ext cx="1768192" cy="1764333"/>
            <a:chOff x="2881313" y="2510631"/>
            <a:chExt cx="727075" cy="725488"/>
          </a:xfrm>
        </p:grpSpPr>
        <p:sp>
          <p:nvSpPr>
            <p:cNvPr id="15" name="Oval 95">
              <a:extLst>
                <a:ext uri="{FF2B5EF4-FFF2-40B4-BE49-F238E27FC236}">
                  <a16:creationId xmlns:a16="http://schemas.microsoft.com/office/drawing/2014/main" id="{C1073324-2DD2-D340-9D5A-7061E0BC7670}"/>
                </a:ext>
              </a:extLst>
            </p:cNvPr>
            <p:cNvSpPr>
              <a:spLocks noChangeArrowheads="1"/>
            </p:cNvSpPr>
            <p:nvPr/>
          </p:nvSpPr>
          <p:spPr bwMode="auto">
            <a:xfrm>
              <a:off x="2881313" y="2510631"/>
              <a:ext cx="727075" cy="725488"/>
            </a:xfrm>
            <a:prstGeom prst="ellipse">
              <a:avLst/>
            </a:prstGeom>
            <a:noFill/>
            <a:ln w="1143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16" name="Line 96">
              <a:extLst>
                <a:ext uri="{FF2B5EF4-FFF2-40B4-BE49-F238E27FC236}">
                  <a16:creationId xmlns:a16="http://schemas.microsoft.com/office/drawing/2014/main" id="{DE39C09D-B980-D146-8547-CEDA6CED02EA}"/>
                </a:ext>
              </a:extLst>
            </p:cNvPr>
            <p:cNvSpPr>
              <a:spLocks noChangeShapeType="1"/>
            </p:cNvSpPr>
            <p:nvPr/>
          </p:nvSpPr>
          <p:spPr bwMode="auto">
            <a:xfrm>
              <a:off x="3608388" y="2510631"/>
              <a:ext cx="0" cy="0"/>
            </a:xfrm>
            <a:prstGeom prst="line">
              <a:avLst/>
            </a:prstGeom>
            <a:noFill/>
            <a:ln w="114300">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17" name="Line 97">
              <a:extLst>
                <a:ext uri="{FF2B5EF4-FFF2-40B4-BE49-F238E27FC236}">
                  <a16:creationId xmlns:a16="http://schemas.microsoft.com/office/drawing/2014/main" id="{EBA37F2C-E422-FB4A-BFF7-B908A985824F}"/>
                </a:ext>
              </a:extLst>
            </p:cNvPr>
            <p:cNvSpPr>
              <a:spLocks noChangeShapeType="1"/>
            </p:cNvSpPr>
            <p:nvPr/>
          </p:nvSpPr>
          <p:spPr bwMode="auto">
            <a:xfrm>
              <a:off x="3608388" y="2510631"/>
              <a:ext cx="0" cy="0"/>
            </a:xfrm>
            <a:prstGeom prst="line">
              <a:avLst/>
            </a:prstGeom>
            <a:noFill/>
            <a:ln w="1143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18" name="Line 98">
              <a:extLst>
                <a:ext uri="{FF2B5EF4-FFF2-40B4-BE49-F238E27FC236}">
                  <a16:creationId xmlns:a16="http://schemas.microsoft.com/office/drawing/2014/main" id="{4560DF00-E08A-7E48-BB13-B66F25F02B53}"/>
                </a:ext>
              </a:extLst>
            </p:cNvPr>
            <p:cNvSpPr>
              <a:spLocks noChangeShapeType="1"/>
            </p:cNvSpPr>
            <p:nvPr/>
          </p:nvSpPr>
          <p:spPr bwMode="auto">
            <a:xfrm>
              <a:off x="3248025" y="2510631"/>
              <a:ext cx="0" cy="0"/>
            </a:xfrm>
            <a:prstGeom prst="line">
              <a:avLst/>
            </a:prstGeom>
            <a:noFill/>
            <a:ln w="114300">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19" name="Line 99">
              <a:extLst>
                <a:ext uri="{FF2B5EF4-FFF2-40B4-BE49-F238E27FC236}">
                  <a16:creationId xmlns:a16="http://schemas.microsoft.com/office/drawing/2014/main" id="{F14EABC2-C659-F14E-8AA6-1C8AC69666F7}"/>
                </a:ext>
              </a:extLst>
            </p:cNvPr>
            <p:cNvSpPr>
              <a:spLocks noChangeShapeType="1"/>
            </p:cNvSpPr>
            <p:nvPr/>
          </p:nvSpPr>
          <p:spPr bwMode="auto">
            <a:xfrm>
              <a:off x="3248025" y="2510631"/>
              <a:ext cx="0" cy="0"/>
            </a:xfrm>
            <a:prstGeom prst="line">
              <a:avLst/>
            </a:prstGeom>
            <a:noFill/>
            <a:ln w="1143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20" name="Freeform 100">
              <a:extLst>
                <a:ext uri="{FF2B5EF4-FFF2-40B4-BE49-F238E27FC236}">
                  <a16:creationId xmlns:a16="http://schemas.microsoft.com/office/drawing/2014/main" id="{F6FB3275-FB14-1241-A2EF-12A3DAC84EE7}"/>
                </a:ext>
              </a:extLst>
            </p:cNvPr>
            <p:cNvSpPr>
              <a:spLocks/>
            </p:cNvSpPr>
            <p:nvPr/>
          </p:nvSpPr>
          <p:spPr bwMode="auto">
            <a:xfrm>
              <a:off x="3248025" y="2510631"/>
              <a:ext cx="360363" cy="338138"/>
            </a:xfrm>
            <a:custGeom>
              <a:avLst/>
              <a:gdLst>
                <a:gd name="T0" fmla="*/ 0 w 132"/>
                <a:gd name="T1" fmla="*/ 0 h 124"/>
                <a:gd name="T2" fmla="*/ 132 w 132"/>
                <a:gd name="T3" fmla="*/ 124 h 124"/>
              </a:gdLst>
              <a:ahLst/>
              <a:cxnLst>
                <a:cxn ang="0">
                  <a:pos x="T0" y="T1"/>
                </a:cxn>
                <a:cxn ang="0">
                  <a:pos x="T2" y="T3"/>
                </a:cxn>
              </a:cxnLst>
              <a:rect l="0" t="0" r="r" b="b"/>
              <a:pathLst>
                <a:path w="132" h="124">
                  <a:moveTo>
                    <a:pt x="0" y="0"/>
                  </a:moveTo>
                  <a:cubicBezTo>
                    <a:pt x="70" y="0"/>
                    <a:pt x="127" y="54"/>
                    <a:pt x="132" y="124"/>
                  </a:cubicBezTo>
                </a:path>
              </a:pathLst>
            </a:custGeom>
            <a:noFill/>
            <a:ln w="1143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grpSp>
      <p:sp>
        <p:nvSpPr>
          <p:cNvPr id="21" name="TextBox 20">
            <a:extLst>
              <a:ext uri="{FF2B5EF4-FFF2-40B4-BE49-F238E27FC236}">
                <a16:creationId xmlns:a16="http://schemas.microsoft.com/office/drawing/2014/main" id="{CBBF5690-73B7-0941-81BE-21B073151050}"/>
              </a:ext>
            </a:extLst>
          </p:cNvPr>
          <p:cNvSpPr txBox="1"/>
          <p:nvPr/>
        </p:nvSpPr>
        <p:spPr>
          <a:xfrm>
            <a:off x="617572" y="2341420"/>
            <a:ext cx="1725723" cy="769441"/>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300" normalizeH="0" baseline="0" noProof="0" dirty="0">
                <a:ln>
                  <a:noFill/>
                </a:ln>
                <a:solidFill>
                  <a:schemeClr val="bg1"/>
                </a:solidFill>
                <a:effectLst/>
                <a:uLnTx/>
                <a:uFillTx/>
                <a:latin typeface="CiscoSansTT Thin" panose="020B0203020201020303" pitchFamily="34" charset="0"/>
                <a:ea typeface="ＭＳ Ｐゴシック" charset="0"/>
                <a:cs typeface="CiscoSansTT Thin" panose="020B0203020201020303" pitchFamily="34" charset="0"/>
                <a:sym typeface="CiscoSansTT ExtraLight"/>
              </a:rPr>
              <a:t>28%</a:t>
            </a:r>
          </a:p>
        </p:txBody>
      </p:sp>
      <p:grpSp>
        <p:nvGrpSpPr>
          <p:cNvPr id="22" name="Group 21">
            <a:extLst>
              <a:ext uri="{FF2B5EF4-FFF2-40B4-BE49-F238E27FC236}">
                <a16:creationId xmlns:a16="http://schemas.microsoft.com/office/drawing/2014/main" id="{E82E36D2-DEA3-9141-BCFD-68A4A7FE2859}"/>
              </a:ext>
            </a:extLst>
          </p:cNvPr>
          <p:cNvGrpSpPr/>
          <p:nvPr/>
        </p:nvGrpSpPr>
        <p:grpSpPr>
          <a:xfrm>
            <a:off x="2671465" y="1848684"/>
            <a:ext cx="1758292" cy="1762138"/>
            <a:chOff x="2052638" y="5234781"/>
            <a:chExt cx="725488" cy="727075"/>
          </a:xfrm>
        </p:grpSpPr>
        <p:sp>
          <p:nvSpPr>
            <p:cNvPr id="23" name="Oval 201">
              <a:extLst>
                <a:ext uri="{FF2B5EF4-FFF2-40B4-BE49-F238E27FC236}">
                  <a16:creationId xmlns:a16="http://schemas.microsoft.com/office/drawing/2014/main" id="{408A68A8-3620-FB4E-B229-00462F2DBD39}"/>
                </a:ext>
              </a:extLst>
            </p:cNvPr>
            <p:cNvSpPr>
              <a:spLocks noChangeArrowheads="1"/>
            </p:cNvSpPr>
            <p:nvPr/>
          </p:nvSpPr>
          <p:spPr bwMode="auto">
            <a:xfrm>
              <a:off x="2052638" y="5234781"/>
              <a:ext cx="725488" cy="727075"/>
            </a:xfrm>
            <a:prstGeom prst="ellipse">
              <a:avLst/>
            </a:prstGeom>
            <a:noFill/>
            <a:ln w="1143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24" name="Freeform 202">
              <a:extLst>
                <a:ext uri="{FF2B5EF4-FFF2-40B4-BE49-F238E27FC236}">
                  <a16:creationId xmlns:a16="http://schemas.microsoft.com/office/drawing/2014/main" id="{6C46C66C-56F9-A340-BC2D-0789476C31FA}"/>
                </a:ext>
              </a:extLst>
            </p:cNvPr>
            <p:cNvSpPr>
              <a:spLocks/>
            </p:cNvSpPr>
            <p:nvPr/>
          </p:nvSpPr>
          <p:spPr bwMode="auto">
            <a:xfrm>
              <a:off x="2354263" y="5234781"/>
              <a:ext cx="423863" cy="723900"/>
            </a:xfrm>
            <a:custGeom>
              <a:avLst/>
              <a:gdLst>
                <a:gd name="T0" fmla="*/ 23 w 155"/>
                <a:gd name="T1" fmla="*/ 0 h 265"/>
                <a:gd name="T2" fmla="*/ 155 w 155"/>
                <a:gd name="T3" fmla="*/ 132 h 265"/>
                <a:gd name="T4" fmla="*/ 23 w 155"/>
                <a:gd name="T5" fmla="*/ 265 h 265"/>
                <a:gd name="T6" fmla="*/ 0 w 155"/>
                <a:gd name="T7" fmla="*/ 263 h 265"/>
              </a:gdLst>
              <a:ahLst/>
              <a:cxnLst>
                <a:cxn ang="0">
                  <a:pos x="T0" y="T1"/>
                </a:cxn>
                <a:cxn ang="0">
                  <a:pos x="T2" y="T3"/>
                </a:cxn>
                <a:cxn ang="0">
                  <a:pos x="T4" y="T5"/>
                </a:cxn>
                <a:cxn ang="0">
                  <a:pos x="T6" y="T7"/>
                </a:cxn>
              </a:cxnLst>
              <a:rect l="0" t="0" r="r" b="b"/>
              <a:pathLst>
                <a:path w="155" h="265">
                  <a:moveTo>
                    <a:pt x="23" y="0"/>
                  </a:moveTo>
                  <a:cubicBezTo>
                    <a:pt x="96" y="0"/>
                    <a:pt x="155" y="59"/>
                    <a:pt x="155" y="132"/>
                  </a:cubicBezTo>
                  <a:cubicBezTo>
                    <a:pt x="155" y="206"/>
                    <a:pt x="96" y="265"/>
                    <a:pt x="23" y="265"/>
                  </a:cubicBezTo>
                  <a:cubicBezTo>
                    <a:pt x="14" y="265"/>
                    <a:pt x="9" y="264"/>
                    <a:pt x="0" y="263"/>
                  </a:cubicBezTo>
                </a:path>
              </a:pathLst>
            </a:custGeom>
            <a:noFill/>
            <a:ln w="1143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grpSp>
      <p:sp>
        <p:nvSpPr>
          <p:cNvPr id="25" name="TextBox 24">
            <a:extLst>
              <a:ext uri="{FF2B5EF4-FFF2-40B4-BE49-F238E27FC236}">
                <a16:creationId xmlns:a16="http://schemas.microsoft.com/office/drawing/2014/main" id="{585B48F8-55CF-474B-BFDB-D36DA22C4FE0}"/>
              </a:ext>
            </a:extLst>
          </p:cNvPr>
          <p:cNvSpPr txBox="1"/>
          <p:nvPr/>
        </p:nvSpPr>
        <p:spPr>
          <a:xfrm>
            <a:off x="2690704" y="2341420"/>
            <a:ext cx="1719815" cy="769441"/>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300" normalizeH="0" baseline="0" noProof="0" dirty="0">
                <a:ln>
                  <a:noFill/>
                </a:ln>
                <a:solidFill>
                  <a:schemeClr val="bg1"/>
                </a:solidFill>
                <a:effectLst/>
                <a:uLnTx/>
                <a:uFillTx/>
                <a:latin typeface="CiscoSansTT Thin" panose="020B0203020201020303" pitchFamily="34" charset="0"/>
                <a:ea typeface="ＭＳ Ｐゴシック" charset="0"/>
                <a:cs typeface="CiscoSansTT Thin" panose="020B0203020201020303" pitchFamily="34" charset="0"/>
                <a:sym typeface="CiscoSansTT ExtraLight"/>
              </a:rPr>
              <a:t>53%</a:t>
            </a:r>
          </a:p>
        </p:txBody>
      </p:sp>
      <p:grpSp>
        <p:nvGrpSpPr>
          <p:cNvPr id="26" name="Group 25">
            <a:extLst>
              <a:ext uri="{FF2B5EF4-FFF2-40B4-BE49-F238E27FC236}">
                <a16:creationId xmlns:a16="http://schemas.microsoft.com/office/drawing/2014/main" id="{EF3ECA96-3F1A-9E4E-B56B-03D41EFDF289}"/>
              </a:ext>
            </a:extLst>
          </p:cNvPr>
          <p:cNvGrpSpPr/>
          <p:nvPr/>
        </p:nvGrpSpPr>
        <p:grpSpPr>
          <a:xfrm>
            <a:off x="4772761" y="1848683"/>
            <a:ext cx="1768191" cy="1768191"/>
            <a:chOff x="5364164" y="1600994"/>
            <a:chExt cx="725488" cy="725488"/>
          </a:xfrm>
        </p:grpSpPr>
        <p:sp>
          <p:nvSpPr>
            <p:cNvPr id="27" name="Oval 290">
              <a:extLst>
                <a:ext uri="{FF2B5EF4-FFF2-40B4-BE49-F238E27FC236}">
                  <a16:creationId xmlns:a16="http://schemas.microsoft.com/office/drawing/2014/main" id="{D9373B85-A88F-214A-8809-654FD81F5E17}"/>
                </a:ext>
              </a:extLst>
            </p:cNvPr>
            <p:cNvSpPr>
              <a:spLocks noChangeArrowheads="1"/>
            </p:cNvSpPr>
            <p:nvPr/>
          </p:nvSpPr>
          <p:spPr bwMode="auto">
            <a:xfrm>
              <a:off x="5364164" y="1600994"/>
              <a:ext cx="725488" cy="725488"/>
            </a:xfrm>
            <a:prstGeom prst="ellipse">
              <a:avLst/>
            </a:prstGeom>
            <a:noFill/>
            <a:ln w="1143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28" name="Line 291">
              <a:extLst>
                <a:ext uri="{FF2B5EF4-FFF2-40B4-BE49-F238E27FC236}">
                  <a16:creationId xmlns:a16="http://schemas.microsoft.com/office/drawing/2014/main" id="{9CC44D2F-720A-BB43-847E-E0533BF59AE6}"/>
                </a:ext>
              </a:extLst>
            </p:cNvPr>
            <p:cNvSpPr>
              <a:spLocks noChangeShapeType="1"/>
            </p:cNvSpPr>
            <p:nvPr/>
          </p:nvSpPr>
          <p:spPr bwMode="auto">
            <a:xfrm>
              <a:off x="6043613" y="1600994"/>
              <a:ext cx="0" cy="0"/>
            </a:xfrm>
            <a:prstGeom prst="line">
              <a:avLst/>
            </a:prstGeom>
            <a:noFill/>
            <a:ln w="114300">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29" name="Line 292">
              <a:extLst>
                <a:ext uri="{FF2B5EF4-FFF2-40B4-BE49-F238E27FC236}">
                  <a16:creationId xmlns:a16="http://schemas.microsoft.com/office/drawing/2014/main" id="{D45172FE-9335-7944-A1AA-D1F4F2360222}"/>
                </a:ext>
              </a:extLst>
            </p:cNvPr>
            <p:cNvSpPr>
              <a:spLocks noChangeShapeType="1"/>
            </p:cNvSpPr>
            <p:nvPr/>
          </p:nvSpPr>
          <p:spPr bwMode="auto">
            <a:xfrm>
              <a:off x="6043613" y="1600994"/>
              <a:ext cx="0" cy="0"/>
            </a:xfrm>
            <a:prstGeom prst="line">
              <a:avLst/>
            </a:prstGeom>
            <a:noFill/>
            <a:ln w="1143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30" name="Line 293">
              <a:extLst>
                <a:ext uri="{FF2B5EF4-FFF2-40B4-BE49-F238E27FC236}">
                  <a16:creationId xmlns:a16="http://schemas.microsoft.com/office/drawing/2014/main" id="{BE518373-EA88-1E4B-B266-8A53EE76AE89}"/>
                </a:ext>
              </a:extLst>
            </p:cNvPr>
            <p:cNvSpPr>
              <a:spLocks noChangeShapeType="1"/>
            </p:cNvSpPr>
            <p:nvPr/>
          </p:nvSpPr>
          <p:spPr bwMode="auto">
            <a:xfrm>
              <a:off x="5726113" y="1600994"/>
              <a:ext cx="0" cy="0"/>
            </a:xfrm>
            <a:prstGeom prst="line">
              <a:avLst/>
            </a:prstGeom>
            <a:noFill/>
            <a:ln w="114300">
              <a:solidFill>
                <a:srgbClr val="000000"/>
              </a:solidFill>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31" name="Line 294">
              <a:extLst>
                <a:ext uri="{FF2B5EF4-FFF2-40B4-BE49-F238E27FC236}">
                  <a16:creationId xmlns:a16="http://schemas.microsoft.com/office/drawing/2014/main" id="{B2EA0029-E848-7241-914A-E410BAD44EB2}"/>
                </a:ext>
              </a:extLst>
            </p:cNvPr>
            <p:cNvSpPr>
              <a:spLocks noChangeShapeType="1"/>
            </p:cNvSpPr>
            <p:nvPr/>
          </p:nvSpPr>
          <p:spPr bwMode="auto">
            <a:xfrm>
              <a:off x="5726113" y="1600994"/>
              <a:ext cx="0" cy="0"/>
            </a:xfrm>
            <a:prstGeom prst="line">
              <a:avLst/>
            </a:prstGeom>
            <a:noFill/>
            <a:ln w="1143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sp>
          <p:nvSpPr>
            <p:cNvPr id="32" name="Freeform 295">
              <a:extLst>
                <a:ext uri="{FF2B5EF4-FFF2-40B4-BE49-F238E27FC236}">
                  <a16:creationId xmlns:a16="http://schemas.microsoft.com/office/drawing/2014/main" id="{9099457C-AAF5-3C4E-8CC0-5DD3CDDA9C65}"/>
                </a:ext>
              </a:extLst>
            </p:cNvPr>
            <p:cNvSpPr>
              <a:spLocks/>
            </p:cNvSpPr>
            <p:nvPr/>
          </p:nvSpPr>
          <p:spPr bwMode="auto">
            <a:xfrm>
              <a:off x="5726113" y="1600994"/>
              <a:ext cx="317500" cy="185738"/>
            </a:xfrm>
            <a:custGeom>
              <a:avLst/>
              <a:gdLst>
                <a:gd name="T0" fmla="*/ 0 w 116"/>
                <a:gd name="T1" fmla="*/ 0 h 68"/>
                <a:gd name="T2" fmla="*/ 116 w 116"/>
                <a:gd name="T3" fmla="*/ 68 h 68"/>
              </a:gdLst>
              <a:ahLst/>
              <a:cxnLst>
                <a:cxn ang="0">
                  <a:pos x="T0" y="T1"/>
                </a:cxn>
                <a:cxn ang="0">
                  <a:pos x="T2" y="T3"/>
                </a:cxn>
              </a:cxnLst>
              <a:rect l="0" t="0" r="r" b="b"/>
              <a:pathLst>
                <a:path w="116" h="68">
                  <a:moveTo>
                    <a:pt x="0" y="0"/>
                  </a:moveTo>
                  <a:cubicBezTo>
                    <a:pt x="50" y="0"/>
                    <a:pt x="92" y="24"/>
                    <a:pt x="116" y="68"/>
                  </a:cubicBezTo>
                </a:path>
              </a:pathLst>
            </a:custGeom>
            <a:noFill/>
            <a:ln w="114300" cap="rnd">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cs typeface="CiscoSansTT ExtraLight"/>
                <a:sym typeface="CiscoSansTT ExtraLight"/>
              </a:endParaRPr>
            </a:p>
          </p:txBody>
        </p:sp>
      </p:grpSp>
      <p:sp>
        <p:nvSpPr>
          <p:cNvPr id="33" name="TextBox 32">
            <a:extLst>
              <a:ext uri="{FF2B5EF4-FFF2-40B4-BE49-F238E27FC236}">
                <a16:creationId xmlns:a16="http://schemas.microsoft.com/office/drawing/2014/main" id="{626EBE76-03A3-644E-B25F-632286C4AF25}"/>
              </a:ext>
            </a:extLst>
          </p:cNvPr>
          <p:cNvSpPr txBox="1"/>
          <p:nvPr/>
        </p:nvSpPr>
        <p:spPr>
          <a:xfrm>
            <a:off x="4792105" y="2344797"/>
            <a:ext cx="1729497" cy="769441"/>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300" normalizeH="0" baseline="0" noProof="0" dirty="0">
                <a:ln>
                  <a:noFill/>
                </a:ln>
                <a:solidFill>
                  <a:schemeClr val="bg1"/>
                </a:solidFill>
                <a:effectLst/>
                <a:uLnTx/>
                <a:uFillTx/>
                <a:latin typeface="CiscoSansTT Thin" panose="020B0203020201020303" pitchFamily="34" charset="0"/>
                <a:ea typeface="ＭＳ Ｐゴシック" charset="0"/>
                <a:cs typeface="CiscoSansTT Thin" panose="020B0203020201020303" pitchFamily="34" charset="0"/>
                <a:sym typeface="CiscoSansTT ExtraLight"/>
              </a:rPr>
              <a:t>17%</a:t>
            </a:r>
          </a:p>
        </p:txBody>
      </p:sp>
      <p:sp>
        <p:nvSpPr>
          <p:cNvPr id="2" name="Title 1">
            <a:extLst>
              <a:ext uri="{FF2B5EF4-FFF2-40B4-BE49-F238E27FC236}">
                <a16:creationId xmlns:a16="http://schemas.microsoft.com/office/drawing/2014/main" id="{40D4FBBD-5D18-5145-BBBE-D0ED4CAFC704}"/>
              </a:ext>
            </a:extLst>
          </p:cNvPr>
          <p:cNvSpPr>
            <a:spLocks noGrp="1"/>
          </p:cNvSpPr>
          <p:nvPr>
            <p:ph type="title"/>
          </p:nvPr>
        </p:nvSpPr>
        <p:spPr>
          <a:xfrm>
            <a:off x="437766" y="527163"/>
            <a:ext cx="8345488" cy="731837"/>
          </a:xfrm>
        </p:spPr>
        <p:txBody>
          <a:bodyPr/>
          <a:lstStyle/>
          <a:p>
            <a:r>
              <a:rPr lang="en-US" dirty="0">
                <a:solidFill>
                  <a:schemeClr val="bg1"/>
                </a:solidFill>
              </a:rPr>
              <a:t>How challenging is it to orchestrate alerts </a:t>
            </a:r>
            <a:br>
              <a:rPr lang="en-US" dirty="0">
                <a:solidFill>
                  <a:schemeClr val="bg1"/>
                </a:solidFill>
              </a:rPr>
            </a:br>
            <a:r>
              <a:rPr lang="en-US" dirty="0">
                <a:solidFill>
                  <a:schemeClr val="bg1"/>
                </a:solidFill>
              </a:rPr>
              <a:t>from multiple security vendors’ products?</a:t>
            </a:r>
          </a:p>
        </p:txBody>
      </p:sp>
      <p:grpSp>
        <p:nvGrpSpPr>
          <p:cNvPr id="35" name="Group 34">
            <a:extLst>
              <a:ext uri="{FF2B5EF4-FFF2-40B4-BE49-F238E27FC236}">
                <a16:creationId xmlns:a16="http://schemas.microsoft.com/office/drawing/2014/main" id="{3070A3BF-8FB5-1849-A420-FB7059CA8045}"/>
              </a:ext>
            </a:extLst>
          </p:cNvPr>
          <p:cNvGrpSpPr/>
          <p:nvPr/>
        </p:nvGrpSpPr>
        <p:grpSpPr>
          <a:xfrm>
            <a:off x="528763" y="4712481"/>
            <a:ext cx="921665" cy="191516"/>
            <a:chOff x="528763" y="4712481"/>
            <a:chExt cx="921665" cy="191516"/>
          </a:xfrm>
        </p:grpSpPr>
        <p:grpSp>
          <p:nvGrpSpPr>
            <p:cNvPr id="36" name="Graphic 2">
              <a:extLst>
                <a:ext uri="{FF2B5EF4-FFF2-40B4-BE49-F238E27FC236}">
                  <a16:creationId xmlns:a16="http://schemas.microsoft.com/office/drawing/2014/main" id="{72ED2BFB-CD16-7D43-B137-99830BE36CD1}"/>
                </a:ext>
              </a:extLst>
            </p:cNvPr>
            <p:cNvGrpSpPr/>
            <p:nvPr userDrawn="1"/>
          </p:nvGrpSpPr>
          <p:grpSpPr>
            <a:xfrm>
              <a:off x="943759" y="4781970"/>
              <a:ext cx="506669" cy="122027"/>
              <a:chOff x="4433187" y="1865375"/>
              <a:chExt cx="2298157" cy="553493"/>
            </a:xfrm>
            <a:solidFill>
              <a:schemeClr val="accent2"/>
            </a:solidFill>
          </p:grpSpPr>
          <p:sp>
            <p:nvSpPr>
              <p:cNvPr id="38" name="Freeform 37">
                <a:extLst>
                  <a:ext uri="{FF2B5EF4-FFF2-40B4-BE49-F238E27FC236}">
                    <a16:creationId xmlns:a16="http://schemas.microsoft.com/office/drawing/2014/main" id="{03CF7C8F-9D89-2445-A74D-EB9E0989D643}"/>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9" name="Freeform 38">
                <a:extLst>
                  <a:ext uri="{FF2B5EF4-FFF2-40B4-BE49-F238E27FC236}">
                    <a16:creationId xmlns:a16="http://schemas.microsoft.com/office/drawing/2014/main" id="{2BF806D2-0C04-C442-A3B7-1EC7AA93DD76}"/>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40" name="Freeform 39">
                <a:extLst>
                  <a:ext uri="{FF2B5EF4-FFF2-40B4-BE49-F238E27FC236}">
                    <a16:creationId xmlns:a16="http://schemas.microsoft.com/office/drawing/2014/main" id="{61C372E9-1176-5B4F-AD99-FA7E47CA46C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41" name="Freeform 40">
                <a:extLst>
                  <a:ext uri="{FF2B5EF4-FFF2-40B4-BE49-F238E27FC236}">
                    <a16:creationId xmlns:a16="http://schemas.microsoft.com/office/drawing/2014/main" id="{B4C82B08-B8D1-1542-A348-21490749F19E}"/>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42" name="Freeform 41">
                <a:extLst>
                  <a:ext uri="{FF2B5EF4-FFF2-40B4-BE49-F238E27FC236}">
                    <a16:creationId xmlns:a16="http://schemas.microsoft.com/office/drawing/2014/main" id="{995300B3-3C10-1049-BDE0-C82D4AFA2A94}"/>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43" name="Freeform 42">
                <a:extLst>
                  <a:ext uri="{FF2B5EF4-FFF2-40B4-BE49-F238E27FC236}">
                    <a16:creationId xmlns:a16="http://schemas.microsoft.com/office/drawing/2014/main" id="{577CE5DD-6E22-1649-8593-0FE0FB4A748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37" name="Freeform 6">
              <a:extLst>
                <a:ext uri="{FF2B5EF4-FFF2-40B4-BE49-F238E27FC236}">
                  <a16:creationId xmlns:a16="http://schemas.microsoft.com/office/drawing/2014/main" id="{CFFFA042-DB97-F147-8E41-9179BF430635}"/>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44" name="Rectangle 43">
            <a:extLst>
              <a:ext uri="{FF2B5EF4-FFF2-40B4-BE49-F238E27FC236}">
                <a16:creationId xmlns:a16="http://schemas.microsoft.com/office/drawing/2014/main" id="{82F7CEB3-E061-A543-9083-CCBA1776AAE3}"/>
              </a:ext>
            </a:extLst>
          </p:cNvPr>
          <p:cNvSpPr/>
          <p:nvPr/>
        </p:nvSpPr>
        <p:spPr>
          <a:xfrm>
            <a:off x="2894533" y="4785145"/>
            <a:ext cx="3296115" cy="184666"/>
          </a:xfrm>
          <a:prstGeom prst="rect">
            <a:avLst/>
          </a:prstGeom>
        </p:spPr>
        <p:txBody>
          <a:bodyPr wrap="square">
            <a:spAutoFit/>
          </a:bodyPr>
          <a:lstStyle/>
          <a:p>
            <a:pPr algn="r"/>
            <a:r>
              <a:rPr lang="en-US" sz="600" dirty="0">
                <a:solidFill>
                  <a:schemeClr val="bg1">
                    <a:lumMod val="65000"/>
                  </a:schemeClr>
                </a:solidFill>
                <a:latin typeface="+mj-lt"/>
              </a:rPr>
              <a:t>Source: Cisco 2020 CISO Benchmark Study. All percentages rounded.</a:t>
            </a:r>
            <a:endParaRPr lang="en-US" sz="600" dirty="0">
              <a:solidFill>
                <a:schemeClr val="bg1">
                  <a:lumMod val="65000"/>
                </a:schemeClr>
              </a:solidFill>
              <a:effectLst/>
              <a:latin typeface="+mj-lt"/>
            </a:endParaRPr>
          </a:p>
        </p:txBody>
      </p:sp>
      <p:sp>
        <p:nvSpPr>
          <p:cNvPr id="47" name="Rectangle 46">
            <a:hlinkClick r:id="rId2"/>
            <a:extLst>
              <a:ext uri="{FF2B5EF4-FFF2-40B4-BE49-F238E27FC236}">
                <a16:creationId xmlns:a16="http://schemas.microsoft.com/office/drawing/2014/main" id="{AB7997B7-E178-48CE-9E5F-1E443D8ADB96}"/>
              </a:ext>
            </a:extLst>
          </p:cNvPr>
          <p:cNvSpPr/>
          <p:nvPr/>
        </p:nvSpPr>
        <p:spPr>
          <a:xfrm>
            <a:off x="6041831" y="4785145"/>
            <a:ext cx="2654894" cy="307777"/>
          </a:xfrm>
          <a:prstGeom prst="rect">
            <a:avLst/>
          </a:prstGeom>
        </p:spPr>
        <p:txBody>
          <a:bodyPr wrap="none">
            <a:spAutoFit/>
          </a:bodyPr>
          <a:lstStyle/>
          <a:p>
            <a:r>
              <a:rPr lang="en-US" sz="1400" dirty="0">
                <a:solidFill>
                  <a:schemeClr val="accent2"/>
                </a:solidFill>
                <a:latin typeface="+mj-lt"/>
                <a:hlinkClick r:id="rId3"/>
              </a:rPr>
              <a:t>cisco.com/go/</a:t>
            </a:r>
            <a:r>
              <a:rPr lang="en-US" sz="1400" dirty="0" err="1">
                <a:solidFill>
                  <a:schemeClr val="accent2"/>
                </a:solidFill>
                <a:latin typeface="+mj-lt"/>
                <a:hlinkClick r:id="rId3"/>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442689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807775F-ABA9-3349-A9FC-493B0298B5BF}"/>
              </a:ext>
            </a:extLst>
          </p:cNvPr>
          <p:cNvSpPr>
            <a:spLocks noGrp="1"/>
          </p:cNvSpPr>
          <p:nvPr>
            <p:ph type="body" sz="quarter" idx="11"/>
          </p:nvPr>
        </p:nvSpPr>
        <p:spPr>
          <a:xfrm>
            <a:off x="441679" y="3511437"/>
            <a:ext cx="8456994" cy="349356"/>
          </a:xfrm>
        </p:spPr>
        <p:txBody>
          <a:bodyPr/>
          <a:lstStyle/>
          <a:p>
            <a:r>
              <a:rPr lang="en-US" dirty="0"/>
              <a:t>Michael </a:t>
            </a:r>
            <a:r>
              <a:rPr lang="en-US" dirty="0" err="1"/>
              <a:t>Degroote</a:t>
            </a:r>
            <a:r>
              <a:rPr lang="en-US" dirty="0"/>
              <a:t>, Infrastructure Consultant, Mohawk Industries</a:t>
            </a:r>
          </a:p>
        </p:txBody>
      </p:sp>
      <p:sp>
        <p:nvSpPr>
          <p:cNvPr id="4" name="Title 3">
            <a:extLst>
              <a:ext uri="{FF2B5EF4-FFF2-40B4-BE49-F238E27FC236}">
                <a16:creationId xmlns:a16="http://schemas.microsoft.com/office/drawing/2014/main" id="{5E84391E-B497-5248-8B12-E3026A374037}"/>
              </a:ext>
            </a:extLst>
          </p:cNvPr>
          <p:cNvSpPr>
            <a:spLocks noGrp="1"/>
          </p:cNvSpPr>
          <p:nvPr>
            <p:ph type="ctrTitle"/>
          </p:nvPr>
        </p:nvSpPr>
        <p:spPr>
          <a:xfrm>
            <a:off x="250026" y="1845352"/>
            <a:ext cx="7139515" cy="1635786"/>
          </a:xfrm>
        </p:spPr>
        <p:txBody>
          <a:bodyPr/>
          <a:lstStyle/>
          <a:p>
            <a:pPr marL="182563" indent="-153988"/>
            <a:r>
              <a:rPr lang="en-US" sz="2700" dirty="0"/>
              <a:t>“Positive shifts in digital transformation have made it evident that security technologies in silos contribute to more complexity. Our teams are losing precious time connecting the dots and integrating all these tools that don’t work with one another.”</a:t>
            </a:r>
          </a:p>
        </p:txBody>
      </p:sp>
      <p:sp>
        <p:nvSpPr>
          <p:cNvPr id="8" name="Rectangle 7">
            <a:hlinkClick r:id="rId2"/>
            <a:extLst>
              <a:ext uri="{FF2B5EF4-FFF2-40B4-BE49-F238E27FC236}">
                <a16:creationId xmlns:a16="http://schemas.microsoft.com/office/drawing/2014/main" id="{0E5E38AA-2227-4998-B8F0-40432AEBECB8}"/>
              </a:ext>
            </a:extLst>
          </p:cNvPr>
          <p:cNvSpPr/>
          <p:nvPr/>
        </p:nvSpPr>
        <p:spPr>
          <a:xfrm>
            <a:off x="5852657" y="4696897"/>
            <a:ext cx="2654894" cy="307777"/>
          </a:xfrm>
          <a:prstGeom prst="rect">
            <a:avLst/>
          </a:prstGeom>
        </p:spPr>
        <p:txBody>
          <a:bodyPr wrap="none">
            <a:spAutoFit/>
          </a:bodyPr>
          <a:lstStyle/>
          <a:p>
            <a:r>
              <a:rPr lang="en-US" sz="1400" dirty="0">
                <a:solidFill>
                  <a:schemeClr val="accent2"/>
                </a:solidFill>
                <a:latin typeface="+mj-lt"/>
                <a:hlinkClick r:id="rId3"/>
              </a:rPr>
              <a:t>cisco.com/go/</a:t>
            </a:r>
            <a:r>
              <a:rPr lang="en-US" sz="1400" dirty="0" err="1">
                <a:solidFill>
                  <a:schemeClr val="accent2"/>
                </a:solidFill>
                <a:latin typeface="+mj-lt"/>
                <a:hlinkClick r:id="rId3"/>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2583076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EA1201-5FC5-6D44-A0B4-1DB70A64B281}"/>
              </a:ext>
            </a:extLst>
          </p:cNvPr>
          <p:cNvPicPr>
            <a:picLocks noChangeAspect="1"/>
          </p:cNvPicPr>
          <p:nvPr/>
        </p:nvPicPr>
        <p:blipFill rotWithShape="1">
          <a:blip r:embed="rId3"/>
          <a:srcRect l="6953" t="12985" r="9592" b="9579"/>
          <a:stretch/>
        </p:blipFill>
        <p:spPr>
          <a:xfrm>
            <a:off x="3172856" y="973867"/>
            <a:ext cx="5223082" cy="3187320"/>
          </a:xfrm>
          <a:prstGeom prst="rect">
            <a:avLst/>
          </a:prstGeom>
          <a:noFill/>
        </p:spPr>
      </p:pic>
      <p:sp>
        <p:nvSpPr>
          <p:cNvPr id="2" name="Title 1">
            <a:extLst>
              <a:ext uri="{FF2B5EF4-FFF2-40B4-BE49-F238E27FC236}">
                <a16:creationId xmlns:a16="http://schemas.microsoft.com/office/drawing/2014/main" id="{65AB2ECC-FBC8-EF4F-AC9D-4171171F06A4}"/>
              </a:ext>
            </a:extLst>
          </p:cNvPr>
          <p:cNvSpPr>
            <a:spLocks noGrp="1"/>
          </p:cNvSpPr>
          <p:nvPr>
            <p:ph type="title"/>
          </p:nvPr>
        </p:nvSpPr>
        <p:spPr>
          <a:xfrm>
            <a:off x="437766" y="2205831"/>
            <a:ext cx="3212400" cy="731837"/>
          </a:xfrm>
        </p:spPr>
        <p:txBody>
          <a:bodyPr/>
          <a:lstStyle/>
          <a:p>
            <a:r>
              <a:rPr lang="en-US" dirty="0"/>
              <a:t>The trend is </a:t>
            </a:r>
            <a:br>
              <a:rPr lang="en-US" dirty="0"/>
            </a:br>
            <a:r>
              <a:rPr lang="en-US" dirty="0"/>
              <a:t>to reduce </a:t>
            </a:r>
            <a:br>
              <a:rPr lang="en-US" dirty="0"/>
            </a:br>
            <a:r>
              <a:rPr lang="en-US" dirty="0"/>
              <a:t>the number </a:t>
            </a:r>
            <a:br>
              <a:rPr lang="en-US" dirty="0"/>
            </a:br>
            <a:r>
              <a:rPr lang="en-US" dirty="0"/>
              <a:t>of vendors </a:t>
            </a:r>
            <a:br>
              <a:rPr lang="en-US" dirty="0"/>
            </a:br>
            <a:r>
              <a:rPr lang="en-US" dirty="0"/>
              <a:t>in security environments</a:t>
            </a:r>
            <a:br>
              <a:rPr lang="en-US" dirty="0"/>
            </a:br>
            <a:br>
              <a:rPr lang="en-US" dirty="0"/>
            </a:br>
            <a:r>
              <a:rPr lang="en-US" dirty="0">
                <a:solidFill>
                  <a:schemeClr val="accent2"/>
                </a:solidFill>
              </a:rPr>
              <a:t>Simplify!</a:t>
            </a:r>
          </a:p>
        </p:txBody>
      </p:sp>
      <p:sp>
        <p:nvSpPr>
          <p:cNvPr id="9" name="Rectangle 8">
            <a:extLst>
              <a:ext uri="{FF2B5EF4-FFF2-40B4-BE49-F238E27FC236}">
                <a16:creationId xmlns:a16="http://schemas.microsoft.com/office/drawing/2014/main" id="{7EDE30B3-A819-BB4C-B9DF-D050379D07CA}"/>
              </a:ext>
            </a:extLst>
          </p:cNvPr>
          <p:cNvSpPr/>
          <p:nvPr/>
        </p:nvSpPr>
        <p:spPr>
          <a:xfrm>
            <a:off x="2894533" y="4785145"/>
            <a:ext cx="3296115" cy="184666"/>
          </a:xfrm>
          <a:prstGeom prst="rect">
            <a:avLst/>
          </a:prstGeom>
        </p:spPr>
        <p:txBody>
          <a:bodyPr wrap="square">
            <a:spAutoFit/>
          </a:bodyPr>
          <a:lstStyle/>
          <a:p>
            <a:pPr algn="r"/>
            <a:r>
              <a:rPr lang="en-US" sz="600" dirty="0">
                <a:solidFill>
                  <a:schemeClr val="bg1">
                    <a:lumMod val="65000"/>
                  </a:schemeClr>
                </a:solidFill>
                <a:latin typeface="+mj-lt"/>
              </a:rPr>
              <a:t>Source: Cisco 2020 CISO Benchmark Study. All percentages rounded.</a:t>
            </a:r>
            <a:endParaRPr lang="en-US" sz="600" dirty="0">
              <a:solidFill>
                <a:schemeClr val="bg1">
                  <a:lumMod val="65000"/>
                </a:schemeClr>
              </a:solidFill>
              <a:effectLst/>
              <a:latin typeface="+mj-lt"/>
            </a:endParaRPr>
          </a:p>
        </p:txBody>
      </p:sp>
      <p:sp>
        <p:nvSpPr>
          <p:cNvPr id="6" name="Rectangle 5">
            <a:hlinkClick r:id="rId4"/>
            <a:extLst>
              <a:ext uri="{FF2B5EF4-FFF2-40B4-BE49-F238E27FC236}">
                <a16:creationId xmlns:a16="http://schemas.microsoft.com/office/drawing/2014/main" id="{E5E7488F-BAD3-4DE6-92C1-BE9D10A012A6}"/>
              </a:ext>
            </a:extLst>
          </p:cNvPr>
          <p:cNvSpPr/>
          <p:nvPr/>
        </p:nvSpPr>
        <p:spPr>
          <a:xfrm>
            <a:off x="6026077" y="4696897"/>
            <a:ext cx="2654894" cy="307777"/>
          </a:xfrm>
          <a:prstGeom prst="rect">
            <a:avLst/>
          </a:prstGeom>
        </p:spPr>
        <p:txBody>
          <a:bodyPr wrap="none">
            <a:spAutoFit/>
          </a:bodyPr>
          <a:lstStyle/>
          <a:p>
            <a:r>
              <a:rPr lang="en-US" sz="1400" dirty="0">
                <a:solidFill>
                  <a:schemeClr val="accent2"/>
                </a:solidFill>
                <a:latin typeface="+mj-lt"/>
                <a:hlinkClick r:id="rId5"/>
              </a:rPr>
              <a:t>cisco.com/go/</a:t>
            </a:r>
            <a:r>
              <a:rPr lang="en-US" sz="1400" dirty="0" err="1">
                <a:solidFill>
                  <a:schemeClr val="accent2"/>
                </a:solidFill>
                <a:latin typeface="+mj-lt"/>
                <a:hlinkClick r:id="rId5"/>
              </a:rPr>
              <a:t>simplifytosecure</a:t>
            </a:r>
            <a:endParaRPr lang="en-US" sz="1400" dirty="0">
              <a:solidFill>
                <a:schemeClr val="accent2"/>
              </a:solidFill>
              <a:latin typeface="+mj-lt"/>
            </a:endParaRPr>
          </a:p>
        </p:txBody>
      </p:sp>
    </p:spTree>
    <p:extLst>
      <p:ext uri="{BB962C8B-B14F-4D97-AF65-F5344CB8AC3E}">
        <p14:creationId xmlns:p14="http://schemas.microsoft.com/office/powerpoint/2010/main" val="148816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1"/>
  <p:tag name="MMPROD_UIDATA" val="&lt;database version=&quot;11.0&quot;&gt;&lt;object type=&quot;1&quot; unique_id=&quot;10001&quot;&gt;&lt;object type=&quot;2&quot; unique_id=&quot;10002&quot;&gt;&lt;object type=&quot;3&quot; unique_id=&quot;184153&quot;&gt;&lt;property id=&quot;20148&quot; value=&quot;5&quot;/&gt;&lt;property id=&quot;20300&quot; value=&quot;Slide 6 - &amp;quot;Use this slide for transitions&amp;quot;&quot;/&gt;&lt;property id=&quot;20307&quot; value=&quot;257&quot;/&gt;&lt;/object&gt;&lt;object type=&quot;3&quot; unique_id=&quot;184154&quot;&gt;&lt;property id=&quot;20148&quot; value=&quot;5&quot;/&gt;&lt;property id=&quot;20300&quot; value=&quot;Slide 25 - &amp;quot;Color palette&amp;quot;&quot;/&gt;&lt;property id=&quot;20307&quot; value=&quot;258&quot;/&gt;&lt;/object&gt;&lt;object type=&quot;3&quot; unique_id=&quot;184155&quot;&gt;&lt;property id=&quot;20148&quot; value=&quot;5&quot;/&gt;&lt;property id=&quot;20300&quot; value=&quot;Slide 13 - &amp;quot;Two-column layout&amp;quot;&quot;/&gt;&lt;property id=&quot;20307&quot; value=&quot;259&quot;/&gt;&lt;/object&gt;&lt;object type=&quot;3&quot; unique_id=&quot;184156&quot;&gt;&lt;property id=&quot;20148&quot; value=&quot;5&quot;/&gt;&lt;property id=&quot;20300&quot; value=&quot;Slide 19 - &amp;quot;This is a sample headline&amp;quot;&quot;/&gt;&lt;property id=&quot;20307&quot; value=&quot;260&quot;/&gt;&lt;/object&gt;&lt;object type=&quot;3&quot; unique_id=&quot;184157&quot;&gt;&lt;property id=&quot;20148&quot; value=&quot;5&quot;/&gt;&lt;property id=&quot;20300&quot; value=&quot;Slide 20 - &amp;quot;Slide title&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4 - &amp;quot;This is a sample headline&amp;quot;&quot;/&gt;&lt;property id=&quot;20307&quot; value=&quot;265&quot;/&gt;&lt;/object&gt;&lt;object type=&quot;3&quot; unique_id=&quot;184162&quot;&gt;&lt;property id=&quot;20148&quot; value=&quot;5&quot;/&gt;&lt;property id=&quot;20300&quot; value=&quot;Slide 15 - &amp;quot;This is a sample headline&amp;quot;&quot;/&gt;&lt;property id=&quot;20307&quot; value=&quot;266&quot;/&gt;&lt;/object&gt;&lt;object type=&quot;3&quot; unique_id=&quot;184163&quot;&gt;&lt;property id=&quot;20148&quot; value=&quot;5&quot;/&gt;&lt;property id=&quot;20300&quot; value=&quot;Slide 16 - &amp;quot;This is a sample headline&amp;quot;&quot;/&gt;&lt;property id=&quot;20307&quot; value=&quot;267&quot;/&gt;&lt;/object&gt;&lt;object type=&quot;3&quot; unique_id=&quot;184164&quot;&gt;&lt;property id=&quot;20148&quot; value=&quot;5&quot;/&gt;&lt;property id=&quot;20300&quot; value=&quot;Slide 21 - &amp;quot;Use this layout when pairing words with a picture.&amp;quot;&quot;/&gt;&lt;property id=&quot;20307&quot; value=&quot;268&quot;/&gt;&lt;/object&gt;&lt;object type=&quot;3&quot; unique_id=&quot;184165&quot;&gt;&lt;property id=&quot;20148&quot; value=&quot;5&quot;/&gt;&lt;property id=&quot;20300&quot; value=&quot;Slide 22 - &amp;quot;Use this layout when pairing words with a picture.&amp;quot;&quot;/&gt;&lt;property id=&quot;20307&quot; value=&quot;269&quot;/&gt;&lt;/object&gt;&lt;object type=&quot;3&quot; unique_id=&quot;184166&quot;&gt;&lt;property id=&quot;20148&quot; value=&quot;5&quot;/&gt;&lt;property id=&quot;20300&quot; value=&quot;Slide 23&quot;/&gt;&lt;property id=&quot;20307&quot; value=&quot;270&quot;/&gt;&lt;/object&gt;&lt;object type=&quot;3&quot; unique_id=&quot;198815&quot;&gt;&lt;property id=&quot;20148&quot; value=&quot;5&quot;/&gt;&lt;property id=&quot;20300&quot; value=&quot;Slide 24 - &amp;quot;Best practices&amp;quot;&quot;/&gt;&lt;property id=&quot;20307&quot; value=&quot;286&quot;/&gt;&lt;/object&gt;&lt;object type=&quot;3&quot; unique_id=&quot;198816&quot;&gt;&lt;property id=&quot;20148&quot; value=&quot;5&quot;/&gt;&lt;property id=&quot;20300&quot; value=&quot;Slide 26 - &amp;quot;Only use the themes provided&amp;quot;&quot;/&gt;&lt;property id=&quot;20307&quot; value=&quot;287&quot;/&gt;&lt;/object&gt;&lt;object type=&quot;3&quot; unique_id=&quot;198998&quot;&gt;&lt;property id=&quot;20148&quot; value=&quot;5&quot;/&gt;&lt;property id=&quot;20300&quot; value=&quot;Slide 27 - &amp;quot;Seven tips for better presentations&amp;quot;&quot;/&gt;&lt;property id=&quot;20307&quot; value=&quot;288&quot;/&gt;&lt;/object&gt;&lt;object type=&quot;3&quot; unique_id=&quot;199061&quot;&gt;&lt;property id=&quot;20148&quot; value=&quot;5&quot;/&gt;&lt;property id=&quot;20300&quot; value=&quot;Slide 1 - &amp;quot;Please read&amp;quot;&quot;/&gt;&lt;property id=&quot;20307&quot; value=&quot;303&quot;/&gt;&lt;/object&gt;&lt;object type=&quot;3&quot; unique_id=&quot;199062&quot;&gt;&lt;property id=&quot;20148&quot; value=&quot;5&quot;/&gt;&lt;property id=&quot;20300&quot; value=&quot;Slide 2 - &amp;quot;Everyone is responsible  for security&amp;quot;&quot;/&gt;&lt;property id=&quot;20307&quot; value=&quot;443&quot;/&gt;&lt;/object&gt;&lt;object type=&quot;3&quot; unique_id=&quot;199063&quot;&gt;&lt;property id=&quot;20148&quot; value=&quot;5&quot;/&gt;&lt;property id=&quot;20300&quot; value=&quot;Slide 3 - &amp;quot;Please read&amp;quot;&quot;/&gt;&lt;property id=&quot;20307&quot; value=&quot;444&quot;/&gt;&lt;/object&gt;&lt;object type=&quot;3&quot; unique_id=&quot;199064&quot;&gt;&lt;property id=&quot;20148&quot; value=&quot;5&quot;/&gt;&lt;property id=&quot;20300&quot; value=&quot;Slide 4 - &amp;quot;Color themes&amp;quot;&quot;/&gt;&lt;property id=&quot;20307&quot; value=&quot;445&quot;/&gt;&lt;/object&gt;&lt;object type=&quot;3&quot; unique_id=&quot;199065&quot;&gt;&lt;property id=&quot;20148&quot; value=&quot;5&quot;/&gt;&lt;property id=&quot;20300&quot; value=&quot;Slide 5 - &amp;quot;Presentation Title Goes Here&amp;quot;&quot;/&gt;&lt;property id=&quot;20307&quot; value=&quot;256&quot;/&gt;&lt;/object&gt;&lt;object type=&quot;3&quot; unique_id=&quot;199066&quot;&gt;&lt;property id=&quot;20148&quot; value=&quot;5&quot;/&gt;&lt;property id=&quot;20300&quot; value=&quot;Slide 7 - &amp;quot;Use this slide for transitions&amp;quot;&quot;/&gt;&lt;property id=&quot;20307&quot; value=&quot;302&quot;/&gt;&lt;/object&gt;&lt;object type=&quot;3&quot; unique_id=&quot;199067&quot;&gt;&lt;property id=&quot;20148&quot; value=&quot;5&quot;/&gt;&lt;property id=&quot;20300&quot; value=&quot;Slide 8 - &amp;quot;“Design is the silent  ambassador of your brand.”&amp;quot;&quot;/&gt;&lt;property id=&quot;20307&quot; value=&quot;293&quot;/&gt;&lt;/object&gt;&lt;object type=&quot;3&quot; unique_id=&quot;199068&quot;&gt;&lt;property id=&quot;20148&quot; value=&quot;5&quot;/&gt;&lt;property id=&quot;20300&quot; value=&quot;Slide 9 - &amp;quot;“Design is the silent  ambassador of your brand.”&amp;quot;&quot;/&gt;&lt;property id=&quot;20307&quot; value=&quot;301&quot;/&gt;&lt;/object&gt;&lt;object type=&quot;3&quot; unique_id=&quot;199069&quot;&gt;&lt;property id=&quot;20148&quot; value=&quot;5&quot;/&gt;&lt;property id=&quot;20300&quot; value=&quot;Slide 17 - &amp;quot;Bar charts&amp;quot;&quot;/&gt;&lt;property id=&quot;20307&quot; value=&quot;298&quot;/&gt;&lt;/object&gt;&lt;object type=&quot;3&quot; unique_id=&quot;199070&quot;&gt;&lt;property id=&quot;20148&quot; value=&quot;5&quot;/&gt;&lt;property id=&quot;20300&quot; value=&quot;Slide 18 - &amp;quot;Line charts&amp;quot;&quot;/&gt;&lt;property id=&quot;20307&quot; value=&quot;300&quot;/&gt;&lt;/object&gt;&lt;object type=&quot;3&quot; unique_id=&quot;199071&quot;&gt;&lt;property id=&quot;20148&quot; value=&quot;5&quot;/&gt;&lt;property id=&quot;20300&quot; value=&quot;Slide 28&quot;/&gt;&lt;property id=&quot;20307&quot; value=&quot;290&quot;/&gt;&lt;/object&gt;&lt;/object&gt;&lt;object type=&quot;8&quot; unique_id=&quot;1026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PXH8Gf6Qq3OodelfZFvqQ"/>
</p:tagLst>
</file>

<file path=ppt/theme/theme1.xml><?xml version="1.0" encoding="utf-8"?>
<a:theme xmlns:a="http://schemas.openxmlformats.org/drawingml/2006/main" name="Cisco Secure Template White">
  <a:themeElements>
    <a:clrScheme name="Cisco Secure Colors White">
      <a:dk1>
        <a:srgbClr val="0D274D"/>
      </a:dk1>
      <a:lt1>
        <a:srgbClr val="FFFFFF"/>
      </a:lt1>
      <a:dk2>
        <a:srgbClr val="0D274D"/>
      </a:dk2>
      <a:lt2>
        <a:srgbClr val="FFFFFF"/>
      </a:lt2>
      <a:accent1>
        <a:srgbClr val="00BCEB"/>
      </a:accent1>
      <a:accent2>
        <a:srgbClr val="6EBE4A"/>
      </a:accent2>
      <a:accent3>
        <a:srgbClr val="0D274D"/>
      </a:accent3>
      <a:accent4>
        <a:srgbClr val="1E4471"/>
      </a:accent4>
      <a:accent5>
        <a:srgbClr val="FBAB18"/>
      </a:accent5>
      <a:accent6>
        <a:srgbClr val="E3241B"/>
      </a:accent6>
      <a:hlink>
        <a:srgbClr val="6EBE4A"/>
      </a:hlink>
      <a:folHlink>
        <a:srgbClr val="6EBE49"/>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D4EB391ADEF148831F0B8B7B0E58DD" ma:contentTypeVersion="11" ma:contentTypeDescription="Create a new document." ma:contentTypeScope="" ma:versionID="c4d383d21202b5858140a948d5235928">
  <xsd:schema xmlns:xsd="http://www.w3.org/2001/XMLSchema" xmlns:xs="http://www.w3.org/2001/XMLSchema" xmlns:p="http://schemas.microsoft.com/office/2006/metadata/properties" xmlns:ns2="310c6ffd-c648-45d5-9160-fc9ed5cb6595" xmlns:ns3="7e2afd87-28a3-448d-a3af-7e24b976af4a" targetNamespace="http://schemas.microsoft.com/office/2006/metadata/properties" ma:root="true" ma:fieldsID="c02cf5fe0574230fd7081c06dfff6782" ns2:_="" ns3:_="">
    <xsd:import namespace="310c6ffd-c648-45d5-9160-fc9ed5cb6595"/>
    <xsd:import namespace="7e2afd87-28a3-448d-a3af-7e24b976af4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0c6ffd-c648-45d5-9160-fc9ed5cb659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e2afd87-28a3-448d-a3af-7e24b976af4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52B26D-6246-4850-A24E-6D055988E7FF}"/>
</file>

<file path=customXml/itemProps2.xml><?xml version="1.0" encoding="utf-8"?>
<ds:datastoreItem xmlns:ds="http://schemas.openxmlformats.org/officeDocument/2006/customXml" ds:itemID="{F1DC699A-3B82-4E43-B372-C361B7CE5FE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6010E5F-5C4C-4D39-B4F8-3C5B1D541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ue theme 2015 16x9</Template>
  <TotalTime>8145</TotalTime>
  <Words>1400</Words>
  <Application>Microsoft Office PowerPoint</Application>
  <PresentationFormat>On-screen Show (16:9)</PresentationFormat>
  <Paragraphs>166</Paragraphs>
  <Slides>18</Slides>
  <Notes>1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9" baseType="lpstr">
      <vt:lpstr>Apple SD GothicNeo ExtraBold</vt:lpstr>
      <vt:lpstr>Arial</vt:lpstr>
      <vt:lpstr>Calibri</vt:lpstr>
      <vt:lpstr>CiscoSansTT</vt:lpstr>
      <vt:lpstr>CiscoSansTT ExtraLight</vt:lpstr>
      <vt:lpstr>CiscoSansTT Light</vt:lpstr>
      <vt:lpstr>CiscoSansTT Thin</vt:lpstr>
      <vt:lpstr>Courier</vt:lpstr>
      <vt:lpstr>Hiragino Maru Gothic ProN W4</vt:lpstr>
      <vt:lpstr>Cisco Secure Template White</vt:lpstr>
      <vt:lpstr>think-cell Slide</vt:lpstr>
      <vt:lpstr>PowerPoint Presentation</vt:lpstr>
      <vt:lpstr>Report Summary</vt:lpstr>
      <vt:lpstr> Journey from Complexity to Simplicity </vt:lpstr>
      <vt:lpstr>Increasing Demands on Security Teams</vt:lpstr>
      <vt:lpstr>Don’t Multiply… Simplify</vt:lpstr>
      <vt:lpstr>Key Findings: More Strategic Focus, Less Noise </vt:lpstr>
      <vt:lpstr>How challenging is it to orchestrate alerts  from multiple security vendors’ products?</vt:lpstr>
      <vt:lpstr>“Positive shifts in digital transformation have made it evident that security technologies in silos contribute to more complexity. Our teams are losing precious time connecting the dots and integrating all these tools that don’t work with one another.”</vt:lpstr>
      <vt:lpstr>The trend is  to reduce  the number  of vendors  in security environments  Simplify!</vt:lpstr>
      <vt:lpstr>Using fewer vendors shows during an attack:</vt:lpstr>
      <vt:lpstr>“Digital organizations seeking to reduce complexity and manage risk more efficiently will leverage an integrated security platform for unified visibility and intelligence, operational efficiency and simplified security.”</vt:lpstr>
      <vt:lpstr>From Complexity</vt:lpstr>
      <vt:lpstr>Foundational strategies from our Advisory CISOs</vt:lpstr>
      <vt:lpstr>Create quantifiable improvements and better outcomes</vt:lpstr>
      <vt:lpstr>Cisco SecureX connects with your entire security ecosystem</vt:lpstr>
      <vt:lpstr>PowerPoint Presentation</vt:lpstr>
      <vt:lpstr>Cybersecurity Report Series</vt:lpstr>
      <vt:lpstr>PowerPoint Presentation</vt:lpstr>
    </vt:vector>
  </TitlesOfParts>
  <Manager/>
  <Company>Cisco</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dc:title>
  <dc:subject/>
  <dc:creator/>
  <cp:keywords/>
  <dc:description/>
  <cp:lastModifiedBy>Kari Mathisen (kmathise)</cp:lastModifiedBy>
  <cp:revision>628</cp:revision>
  <cp:lastPrinted>2016-04-29T20:31:14Z</cp:lastPrinted>
  <dcterms:created xsi:type="dcterms:W3CDTF">2020-04-22T16:31:14Z</dcterms:created>
  <dcterms:modified xsi:type="dcterms:W3CDTF">2020-06-10T23:36: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D4EB391ADEF148831F0B8B7B0E58DD</vt:lpwstr>
  </property>
</Properties>
</file>